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8.xml" ContentType="application/vnd.openxmlformats-officedocument.presentationml.notesSlide+xml"/>
  <Override PartName="/ppt/tags/tag16.xml" ContentType="application/vnd.openxmlformats-officedocument.presentationml.tags+xml"/>
  <Override PartName="/ppt/notesSlides/notesSlide29.xml" ContentType="application/vnd.openxmlformats-officedocument.presentationml.notesSlide+xml"/>
  <Override PartName="/ppt/tags/tag17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tags/tag22.xml" ContentType="application/vnd.openxmlformats-officedocument.presentationml.tag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80"/>
  </p:notesMasterIdLst>
  <p:handoutMasterIdLst>
    <p:handoutMasterId r:id="rId81"/>
  </p:handoutMasterIdLst>
  <p:sldIdLst>
    <p:sldId id="409" r:id="rId2"/>
    <p:sldId id="411" r:id="rId3"/>
    <p:sldId id="302" r:id="rId4"/>
    <p:sldId id="303" r:id="rId5"/>
    <p:sldId id="412" r:id="rId6"/>
    <p:sldId id="305" r:id="rId7"/>
    <p:sldId id="306" r:id="rId8"/>
    <p:sldId id="307" r:id="rId9"/>
    <p:sldId id="308" r:id="rId10"/>
    <p:sldId id="309" r:id="rId11"/>
    <p:sldId id="310" r:id="rId12"/>
    <p:sldId id="296" r:id="rId13"/>
    <p:sldId id="298" r:id="rId14"/>
    <p:sldId id="324" r:id="rId15"/>
    <p:sldId id="311" r:id="rId16"/>
    <p:sldId id="312" r:id="rId17"/>
    <p:sldId id="313" r:id="rId18"/>
    <p:sldId id="325" r:id="rId19"/>
    <p:sldId id="314" r:id="rId20"/>
    <p:sldId id="315" r:id="rId21"/>
    <p:sldId id="326" r:id="rId22"/>
    <p:sldId id="316" r:id="rId23"/>
    <p:sldId id="317" r:id="rId24"/>
    <p:sldId id="327" r:id="rId25"/>
    <p:sldId id="318" r:id="rId26"/>
    <p:sldId id="323" r:id="rId27"/>
    <p:sldId id="319" r:id="rId28"/>
    <p:sldId id="320" r:id="rId29"/>
    <p:sldId id="321" r:id="rId30"/>
    <p:sldId id="322" r:id="rId31"/>
    <p:sldId id="413" r:id="rId32"/>
    <p:sldId id="300" r:id="rId33"/>
    <p:sldId id="414" r:id="rId34"/>
    <p:sldId id="415" r:id="rId35"/>
    <p:sldId id="416" r:id="rId36"/>
    <p:sldId id="417" r:id="rId37"/>
    <p:sldId id="418" r:id="rId38"/>
    <p:sldId id="338" r:id="rId39"/>
    <p:sldId id="339" r:id="rId40"/>
    <p:sldId id="340" r:id="rId41"/>
    <p:sldId id="342" r:id="rId42"/>
    <p:sldId id="343" r:id="rId43"/>
    <p:sldId id="419" r:id="rId44"/>
    <p:sldId id="329" r:id="rId45"/>
    <p:sldId id="330" r:id="rId46"/>
    <p:sldId id="331" r:id="rId47"/>
    <p:sldId id="420" r:id="rId48"/>
    <p:sldId id="421" r:id="rId49"/>
    <p:sldId id="422" r:id="rId50"/>
    <p:sldId id="423" r:id="rId51"/>
    <p:sldId id="341" r:id="rId52"/>
    <p:sldId id="424" r:id="rId53"/>
    <p:sldId id="425" r:id="rId54"/>
    <p:sldId id="345" r:id="rId55"/>
    <p:sldId id="426" r:id="rId56"/>
    <p:sldId id="427" r:id="rId57"/>
    <p:sldId id="299" r:id="rId58"/>
    <p:sldId id="428" r:id="rId59"/>
    <p:sldId id="429" r:id="rId60"/>
    <p:sldId id="332" r:id="rId61"/>
    <p:sldId id="333" r:id="rId62"/>
    <p:sldId id="439" r:id="rId63"/>
    <p:sldId id="334" r:id="rId64"/>
    <p:sldId id="335" r:id="rId65"/>
    <p:sldId id="336" r:id="rId66"/>
    <p:sldId id="344" r:id="rId67"/>
    <p:sldId id="347" r:id="rId68"/>
    <p:sldId id="348" r:id="rId69"/>
    <p:sldId id="349" r:id="rId70"/>
    <p:sldId id="430" r:id="rId71"/>
    <p:sldId id="431" r:id="rId72"/>
    <p:sldId id="432" r:id="rId73"/>
    <p:sldId id="433" r:id="rId74"/>
    <p:sldId id="434" r:id="rId75"/>
    <p:sldId id="435" r:id="rId76"/>
    <p:sldId id="436" r:id="rId77"/>
    <p:sldId id="437" r:id="rId78"/>
    <p:sldId id="301" r:id="rId79"/>
  </p:sldIdLst>
  <p:sldSz cx="9144000" cy="6858000" type="screen4x3"/>
  <p:notesSz cx="6400800" cy="86868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70" autoAdjust="0"/>
    <p:restoredTop sz="94806" autoAdjust="0"/>
  </p:normalViewPr>
  <p:slideViewPr>
    <p:cSldViewPr snapToGrid="0">
      <p:cViewPr varScale="1">
        <p:scale>
          <a:sx n="115" d="100"/>
          <a:sy n="115" d="100"/>
        </p:scale>
        <p:origin x="1944" y="67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presProps" Target="presProps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notesMaster" Target="notesMasters/notesMaster1.xml"/><Relationship Id="rId85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l">
              <a:defRPr sz="11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625639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r">
              <a:defRPr sz="11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3/6/28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l">
              <a:defRPr sz="11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625639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r">
              <a:defRPr sz="11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l">
              <a:defRPr sz="11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625639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r">
              <a:defRPr sz="11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3/6/28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085850"/>
            <a:ext cx="3908425" cy="2932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6210" tIns="43105" rIns="86210" bIns="43105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40080" y="4180522"/>
            <a:ext cx="5120640" cy="3420428"/>
          </a:xfrm>
          <a:prstGeom prst="rect">
            <a:avLst/>
          </a:prstGeom>
        </p:spPr>
        <p:txBody>
          <a:bodyPr vert="horz" lIns="86210" tIns="43105" rIns="86210" bIns="43105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l">
              <a:defRPr sz="11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625639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r">
              <a:defRPr sz="11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2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3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5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6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7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8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9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0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1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7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8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3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7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8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9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0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1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2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3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4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5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8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9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0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1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86131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3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4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5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7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8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9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0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1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3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4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5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6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7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7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3/6/28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3/6/28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3/6/28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18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3.wmf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50.png"/><Relationship Id="rId5" Type="http://schemas.openxmlformats.org/officeDocument/2006/relationships/image" Target="../media/image12.w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0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5" Type="http://schemas.openxmlformats.org/officeDocument/2006/relationships/image" Target="../media/image1300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5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5" Type="http://schemas.openxmlformats.org/officeDocument/2006/relationships/image" Target="../media/image180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0.png"/><Relationship Id="rId3" Type="http://schemas.openxmlformats.org/officeDocument/2006/relationships/image" Target="../media/image11.png"/><Relationship Id="rId7" Type="http://schemas.openxmlformats.org/officeDocument/2006/relationships/image" Target="../media/image250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0.png"/><Relationship Id="rId9" Type="http://schemas.openxmlformats.org/officeDocument/2006/relationships/image" Target="../media/image27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../media/image39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NUL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5" Type="http://schemas.openxmlformats.org/officeDocument/2006/relationships/image" Target="NUL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0.png"/><Relationship Id="rId5" Type="http://schemas.openxmlformats.org/officeDocument/2006/relationships/image" Target="../media/image6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NUL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2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7" Type="http://schemas.openxmlformats.org/officeDocument/2006/relationships/image" Target="../media/image111.png"/><Relationship Id="rId2" Type="http://schemas.openxmlformats.org/officeDocument/2006/relationships/image" Target="../media/image28.GI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1.png"/><Relationship Id="rId11" Type="http://schemas.openxmlformats.org/officeDocument/2006/relationships/image" Target="../media/image152.png"/><Relationship Id="rId5" Type="http://schemas.openxmlformats.org/officeDocument/2006/relationships/image" Target="../media/image91.png"/><Relationship Id="rId10" Type="http://schemas.openxmlformats.org/officeDocument/2006/relationships/image" Target="../media/image142.png"/><Relationship Id="rId9" Type="http://schemas.openxmlformats.org/officeDocument/2006/relationships/image" Target="../media/image30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1.png"/><Relationship Id="rId5" Type="http://schemas.openxmlformats.org/officeDocument/2006/relationships/image" Target="../media/image171.png"/><Relationship Id="rId4" Type="http://schemas.openxmlformats.org/officeDocument/2006/relationships/image" Target="../media/image160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NUL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NUL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0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3.png"/><Relationship Id="rId3" Type="http://schemas.openxmlformats.org/officeDocument/2006/relationships/image" Target="../media/image43.png"/><Relationship Id="rId7" Type="http://schemas.openxmlformats.org/officeDocument/2006/relationships/image" Target="../media/image56.png"/><Relationship Id="rId12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Relationship Id="rId11" Type="http://schemas.openxmlformats.org/officeDocument/2006/relationships/image" Target="../media/image61.png"/><Relationship Id="rId10" Type="http://schemas.openxmlformats.org/officeDocument/2006/relationships/image" Target="../media/image59.png"/><Relationship Id="rId9" Type="http://schemas.openxmlformats.org/officeDocument/2006/relationships/image" Target="../media/image5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10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png"/><Relationship Id="rId5" Type="http://schemas.openxmlformats.org/officeDocument/2006/relationships/image" Target="../media/image64.png"/><Relationship Id="rId4" Type="http://schemas.openxmlformats.org/officeDocument/2006/relationships/image" Target="../media/image55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Relationship Id="rId5" Type="http://schemas.openxmlformats.org/officeDocument/2006/relationships/image" Target="NUL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wmf"/><Relationship Id="rId3" Type="http://schemas.openxmlformats.org/officeDocument/2006/relationships/image" Target="../media/image45.png"/><Relationship Id="rId7" Type="http://schemas.openxmlformats.org/officeDocument/2006/relationships/oleObject" Target="../embeddings/oleObject12.bin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w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48.png"/><Relationship Id="rId9" Type="http://schemas.openxmlformats.org/officeDocument/2006/relationships/image" Target="../media/image48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5.png"/><Relationship Id="rId5" Type="http://schemas.openxmlformats.org/officeDocument/2006/relationships/image" Target="NUL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Relationship Id="rId5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0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8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7.jpe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5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5" Type="http://schemas.openxmlformats.org/officeDocument/2006/relationships/image" Target="../media/image140.png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image" Target="../media/image6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png"/><Relationship Id="rId5" Type="http://schemas.openxmlformats.org/officeDocument/2006/relationships/image" Target="../media/image1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线性模型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机器学习</a:t>
            </a:r>
            <a:endParaRPr lang="en-US" altLang="zh-CN" sz="28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17728" y="1785532"/>
            <a:ext cx="58873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回归、梯度更新方式、线性回归矩阵形式、泛线性模型、最大似然估计、逻辑斯谛回归、分类指标、逻辑斯谛回归的实践</a:t>
            </a:r>
            <a:endParaRPr lang="zh-CN" altLang="en-US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最小</a:t>
            </a:r>
            <a:r>
              <a:rPr lang="zh-CN" altLang="en-US" dirty="0"/>
              <a:t>化目标函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1292181"/>
                <a:ext cx="8137922" cy="123858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举一个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𝑁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1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简单示例，对于数据点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𝑦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(2,1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𝑦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</m:d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92181"/>
                <a:ext cx="8137922" cy="1238583"/>
              </a:xfrm>
              <a:prstGeom prst="rect">
                <a:avLst/>
              </a:prstGeom>
              <a:blipFill rotWithShape="1">
                <a:blip r:embed="rId5"/>
                <a:stretch>
                  <a:fillRect l="-449" t="-246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pic>
        <p:nvPicPr>
          <p:cNvPr id="9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72" y="2737297"/>
            <a:ext cx="4026353" cy="3261013"/>
          </a:xfrm>
          <a:prstGeom prst="rect">
            <a:avLst/>
          </a:prstGeom>
        </p:spPr>
      </p:pic>
      <p:pic>
        <p:nvPicPr>
          <p:cNvPr id="12" name="图片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30325" y="2737297"/>
            <a:ext cx="2265885" cy="3411209"/>
          </a:xfrm>
          <a:prstGeom prst="rect">
            <a:avLst/>
          </a:prstGeom>
        </p:spPr>
      </p:pic>
      <p:pic>
        <p:nvPicPr>
          <p:cNvPr id="13" name="图片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35910" y="2737297"/>
            <a:ext cx="2247822" cy="3477881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梯度学习方法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 dirty="0"/>
          </a:p>
        </p:txBody>
      </p:sp>
      <p:grpSp>
        <p:nvGrpSpPr>
          <p:cNvPr id="10" name="组合 18"/>
          <p:cNvGrpSpPr/>
          <p:nvPr/>
        </p:nvGrpSpPr>
        <p:grpSpPr>
          <a:xfrm>
            <a:off x="1883392" y="1270000"/>
            <a:ext cx="5475352" cy="4269642"/>
            <a:chOff x="1864271" y="1270000"/>
            <a:chExt cx="5129365" cy="3999844"/>
          </a:xfrm>
        </p:grpSpPr>
        <p:pic>
          <p:nvPicPr>
            <p:cNvPr id="11" name="图片 4"/>
            <p:cNvPicPr>
              <a:picLocks noChangeAspect="1"/>
            </p:cNvPicPr>
            <p:nvPr/>
          </p:nvPicPr>
          <p:blipFill rotWithShape="1">
            <a:blip r:embed="rId3"/>
            <a:srcRect l="5237"/>
            <a:stretch>
              <a:fillRect/>
            </a:stretch>
          </p:blipFill>
          <p:spPr>
            <a:xfrm>
              <a:off x="1864271" y="1270000"/>
              <a:ext cx="5129365" cy="3999844"/>
            </a:xfrm>
            <a:prstGeom prst="rect">
              <a:avLst/>
            </a:prstGeom>
          </p:spPr>
        </p:pic>
        <p:sp>
          <p:nvSpPr>
            <p:cNvPr id="14" name="椭圆 5"/>
            <p:cNvSpPr/>
            <p:nvPr/>
          </p:nvSpPr>
          <p:spPr>
            <a:xfrm>
              <a:off x="6281738" y="2743200"/>
              <a:ext cx="152400" cy="15240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直接箭头连接符 7"/>
            <p:cNvCxnSpPr/>
            <p:nvPr/>
          </p:nvCxnSpPr>
          <p:spPr>
            <a:xfrm flipH="1">
              <a:off x="6086476" y="2888456"/>
              <a:ext cx="242887" cy="48339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椭圆 9"/>
            <p:cNvSpPr/>
            <p:nvPr/>
          </p:nvSpPr>
          <p:spPr>
            <a:xfrm>
              <a:off x="5981701" y="3364706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" name="直接连接符 11"/>
            <p:cNvCxnSpPr>
              <a:stCxn id="14" idx="4"/>
            </p:cNvCxnSpPr>
            <p:nvPr/>
          </p:nvCxnSpPr>
          <p:spPr>
            <a:xfrm>
              <a:off x="6357938" y="2895600"/>
              <a:ext cx="0" cy="198120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3"/>
            <p:cNvCxnSpPr>
              <a:stCxn id="16" idx="4"/>
            </p:cNvCxnSpPr>
            <p:nvPr/>
          </p:nvCxnSpPr>
          <p:spPr>
            <a:xfrm>
              <a:off x="6057901" y="3517106"/>
              <a:ext cx="0" cy="1359694"/>
            </a:xfrm>
            <a:prstGeom prst="line">
              <a:avLst/>
            </a:prstGeom>
            <a:ln w="19050">
              <a:solidFill>
                <a:srgbClr val="0070C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9" name="对象 15"/>
            <p:cNvGraphicFramePr>
              <a:graphicFrameLocks noChangeAspect="1"/>
            </p:cNvGraphicFramePr>
            <p:nvPr/>
          </p:nvGraphicFramePr>
          <p:xfrm>
            <a:off x="6281738" y="5041244"/>
            <a:ext cx="291794" cy="22437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Formula" r:id="rId4" imgW="2647950" imgH="2019300" progId="Equation.Ribbit">
                    <p:embed/>
                  </p:oleObj>
                </mc:Choice>
                <mc:Fallback>
                  <p:oleObj name="Formula" r:id="rId4" imgW="2647950" imgH="2019300" progId="Equation.Ribbit">
                    <p:embed/>
                    <p:pic>
                      <p:nvPicPr>
                        <p:cNvPr id="19" name="对象 15"/>
                        <p:cNvPicPr/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6281738" y="5041244"/>
                          <a:ext cx="291794" cy="22437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" name="对象 16"/>
            <p:cNvGraphicFramePr>
              <a:graphicFrameLocks noChangeAspect="1"/>
            </p:cNvGraphicFramePr>
            <p:nvPr/>
          </p:nvGraphicFramePr>
          <p:xfrm>
            <a:off x="5910263" y="5041900"/>
            <a:ext cx="354012" cy="22383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Formula" r:id="rId6" imgW="3200400" imgH="2019300" progId="Equation.Ribbit">
                    <p:embed/>
                  </p:oleObj>
                </mc:Choice>
                <mc:Fallback>
                  <p:oleObj name="Formula" r:id="rId6" imgW="3200400" imgH="2019300" progId="Equation.Ribbit">
                    <p:embed/>
                    <p:pic>
                      <p:nvPicPr>
                        <p:cNvPr id="20" name="对象 16"/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5910263" y="5041900"/>
                          <a:ext cx="354012" cy="22383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21" name="直接箭头连接符 14"/>
            <p:cNvCxnSpPr/>
            <p:nvPr/>
          </p:nvCxnSpPr>
          <p:spPr>
            <a:xfrm flipH="1">
              <a:off x="6057901" y="4871330"/>
              <a:ext cx="295251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3112663" y="5535128"/>
                <a:ext cx="3112654" cy="6785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new</m:t>
                          </m:r>
                        </m:sub>
                      </m:sSub>
                      <m:r>
                        <m:rPr>
                          <m:lit/>
                        </m:rP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 ←  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old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𝜂</m:t>
                      </m:r>
                      <m:f>
                        <m:f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ℒ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𝜕𝜃</m:t>
                          </m:r>
                        </m:den>
                      </m:f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12663" y="5535128"/>
                <a:ext cx="3112654" cy="678584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1154549" y="2733964"/>
                <a:ext cx="77739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4549" y="2733964"/>
                <a:ext cx="777392" cy="400110"/>
              </a:xfrm>
              <a:prstGeom prst="rect">
                <a:avLst/>
              </a:prstGeom>
              <a:blipFill rotWithShape="1">
                <a:blip r:embed="rId12"/>
                <a:stretch>
                  <a:fillRect b="-181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梯度更新方式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259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3</a:t>
            </a:fld>
            <a:endParaRPr lang="zh-CN" altLang="en-US" dirty="0"/>
          </a:p>
        </p:txBody>
      </p:sp>
      <p:sp>
        <p:nvSpPr>
          <p:cNvPr id="11" name="文本占位符 1"/>
          <p:cNvSpPr>
            <a:spLocks noGrp="1"/>
          </p:cNvSpPr>
          <p:nvPr>
            <p:ph type="body" idx="1"/>
          </p:nvPr>
        </p:nvSpPr>
        <p:spPr>
          <a:xfrm>
            <a:off x="5199300" y="2036916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批量梯度下降</a:t>
            </a:r>
          </a:p>
        </p:txBody>
      </p:sp>
      <p:sp>
        <p:nvSpPr>
          <p:cNvPr id="12" name="文本占位符 2"/>
          <p:cNvSpPr>
            <a:spLocks noGrp="1"/>
          </p:cNvSpPr>
          <p:nvPr>
            <p:ph type="body" idx="12"/>
          </p:nvPr>
        </p:nvSpPr>
        <p:spPr>
          <a:xfrm>
            <a:off x="4428196" y="1987039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idx="13"/>
          </p:nvPr>
        </p:nvSpPr>
        <p:spPr>
          <a:xfrm>
            <a:off x="5199300" y="2815617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随机梯度下降</a:t>
            </a:r>
          </a:p>
        </p:txBody>
      </p:sp>
      <p:sp>
        <p:nvSpPr>
          <p:cNvPr id="14" name="文本占位符 4"/>
          <p:cNvSpPr>
            <a:spLocks noGrp="1"/>
          </p:cNvSpPr>
          <p:nvPr>
            <p:ph type="body" idx="14"/>
          </p:nvPr>
        </p:nvSpPr>
        <p:spPr>
          <a:xfrm>
            <a:off x="4428196" y="2759236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  <p:sp>
        <p:nvSpPr>
          <p:cNvPr id="7" name="文本占位符 3"/>
          <p:cNvSpPr txBox="1"/>
          <p:nvPr/>
        </p:nvSpPr>
        <p:spPr>
          <a:xfrm>
            <a:off x="5203917" y="3531434"/>
            <a:ext cx="3441065" cy="40778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 lnSpcReduction="10000"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1" kern="120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+mn-cs"/>
              </a:defRPr>
            </a:lvl1pPr>
            <a:lvl2pPr marL="4572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9144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3716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8288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22860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/>
              <a:t>小批量梯度下降</a:t>
            </a:r>
          </a:p>
        </p:txBody>
      </p:sp>
      <p:sp>
        <p:nvSpPr>
          <p:cNvPr id="8" name="文本占位符 4"/>
          <p:cNvSpPr txBox="1"/>
          <p:nvPr/>
        </p:nvSpPr>
        <p:spPr>
          <a:xfrm>
            <a:off x="4428196" y="3487093"/>
            <a:ext cx="636022" cy="4077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+mn-cs"/>
              </a:defRPr>
            </a:lvl1pPr>
            <a:lvl2pPr marL="4572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9144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3716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8288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22860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  <p:sp>
        <p:nvSpPr>
          <p:cNvPr id="9" name="文本占位符 3"/>
          <p:cNvSpPr txBox="1"/>
          <p:nvPr/>
        </p:nvSpPr>
        <p:spPr>
          <a:xfrm>
            <a:off x="5193755" y="4287083"/>
            <a:ext cx="3441065" cy="40778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 lnSpcReduction="10000"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1" kern="120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+mn-cs"/>
              </a:defRPr>
            </a:lvl1pPr>
            <a:lvl2pPr marL="4572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9144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3716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8288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22860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/>
              <a:t>基本搜索步骤</a:t>
            </a:r>
          </a:p>
        </p:txBody>
      </p:sp>
      <p:sp>
        <p:nvSpPr>
          <p:cNvPr id="15" name="文本占位符 4"/>
          <p:cNvSpPr txBox="1"/>
          <p:nvPr/>
        </p:nvSpPr>
        <p:spPr>
          <a:xfrm>
            <a:off x="4428192" y="4247251"/>
            <a:ext cx="636022" cy="4077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+mn-cs"/>
              </a:defRPr>
            </a:lvl1pPr>
            <a:lvl2pPr marL="4572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9144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3716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8288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22860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zh-CN" dirty="0"/>
              <a:t>04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4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批量梯度下降</a:t>
            </a: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批量梯度下降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02443" y="1265454"/>
                <a:ext cx="8207448" cy="45409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4400" indent="-284400"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化目标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=</m:t>
                      </m:r>
                      <m:f>
                        <m:f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sup>
                        <m:e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                  </m:t>
                      </m:r>
                      <m:limLow>
                        <m:limLow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sz="200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min</m:t>
                          </m:r>
                        </m:e>
                        <m:li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lim>
                      </m:limLow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 </m:t>
                      </m:r>
                    </m:oMath>
                  </m:oMathPara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整个批量数据的梯度更新参数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000" i="1">
                            <a:latin typeface="Cambria Math" panose="02040503050406030204" pitchFamily="18" charset="0"/>
                          </a:rPr>
                          <m:t>new</m:t>
                        </m:r>
                      </m:sub>
                    </m:sSub>
                    <m:r>
                      <m:rPr>
                        <m:lit/>
                      </m:rPr>
                      <a:rPr lang="en-US" altLang="zh-CN" sz="20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 ←  </m:t>
                    </m:r>
                    <m:sSub>
                      <m:sSub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000" i="1">
                            <a:latin typeface="Cambria Math" panose="02040503050406030204" pitchFamily="18" charset="0"/>
                          </a:rPr>
                          <m:t>old</m:t>
                        </m:r>
                      </m:sub>
                    </m:sSub>
                    <m:r>
                      <a:rPr lang="en-US" altLang="zh-CN" sz="2000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𝜂</m:t>
                    </m:r>
                    <m:f>
                      <m:f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𝐽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𝜕𝜃</m:t>
                        </m:r>
                      </m:den>
                    </m:f>
                  </m:oMath>
                </a14:m>
                <a:endParaRPr lang="zh-CN" altLang="en-US" sz="2000" dirty="0"/>
              </a:p>
              <a:p>
                <a:pPr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sz="20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−</m:t>
                      </m:r>
                      <m:f>
                        <m:f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sup>
                        <m:e>
                          <m:eqArr>
                            <m:eqArr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eqArrPr>
                            <m:e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  <m:f>
                                    <m:f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𝜕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𝑓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20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20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20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</m:e>
                              </m:d>
                            </m:e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 </m:t>
                              </m:r>
                            </m:e>
                          </m:eqArr>
                        </m:e>
                      </m:nary>
                    </m:oMath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−</m:t>
                      </m:r>
                      <m:f>
                        <m:f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sup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)</m:t>
                          </m:r>
                        </m:e>
                      </m:nary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altLang="zh-CN" sz="20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new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old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𝜂</m:t>
                      </m:r>
                      <m:f>
                        <m:f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sup>
                        <m:e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altLang="zh-CN" sz="20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65454"/>
                <a:ext cx="8207448" cy="4540923"/>
              </a:xfrm>
              <a:prstGeom prst="rect">
                <a:avLst/>
              </a:prstGeom>
              <a:blipFill>
                <a:blip r:embed="rId5"/>
                <a:stretch>
                  <a:fillRect l="-445" t="-80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线性模型学习展示 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- 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函数曲线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6</a:t>
            </a:fld>
            <a:endParaRPr lang="zh-CN" altLang="en-US" dirty="0"/>
          </a:p>
        </p:txBody>
      </p:sp>
      <p:pic>
        <p:nvPicPr>
          <p:cNvPr id="7" name="内容占位符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224" y="1050637"/>
            <a:ext cx="5553075" cy="462756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3620660" y="5678200"/>
                <a:ext cx="2049664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20660" y="5678200"/>
                <a:ext cx="2049664" cy="400110"/>
              </a:xfrm>
              <a:prstGeom prst="rect">
                <a:avLst/>
              </a:prstGeom>
              <a:blipFill rotWithShape="1">
                <a:blip r:embed="rId6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7</a:t>
            </a:fld>
            <a:endParaRPr lang="zh-CN" altLang="en-US" dirty="0"/>
          </a:p>
        </p:txBody>
      </p:sp>
      <p:pic>
        <p:nvPicPr>
          <p:cNvPr id="5" name="内容占位符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958" y="1281550"/>
            <a:ext cx="6170084" cy="4627563"/>
          </a:xfrm>
          <a:prstGeom prst="rect">
            <a:avLst/>
          </a:prstGeom>
        </p:spPr>
      </p:pic>
      <p:sp>
        <p:nvSpPr>
          <p:cNvPr id="6" name="文本框 3"/>
          <p:cNvSpPr txBox="1"/>
          <p:nvPr/>
        </p:nvSpPr>
        <p:spPr>
          <a:xfrm>
            <a:off x="3837482" y="5930582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批量梯度更新</a:t>
            </a:r>
          </a:p>
        </p:txBody>
      </p:sp>
      <p:sp>
        <p:nvSpPr>
          <p:cNvPr id="9" name="标题 1"/>
          <p:cNvSpPr txBox="1"/>
          <p:nvPr/>
        </p:nvSpPr>
        <p:spPr>
          <a:xfrm>
            <a:off x="681738" y="1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线性模型学习展示 </a:t>
            </a:r>
            <a:r>
              <a:rPr lang="en-US" altLang="zh-CN" dirty="0"/>
              <a:t>– </a:t>
            </a:r>
            <a:r>
              <a:rPr lang="zh-CN" altLang="en-US" dirty="0"/>
              <a:t>参数改变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8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随机梯度下降</a:t>
            </a: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随机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梯度下降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02443" y="1265454"/>
                <a:ext cx="8207448" cy="45960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4400" indent="-284400"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化目标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</m:e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p>
                      </m:sSup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            </m:t>
                      </m:r>
                      <m:limLow>
                        <m:limLow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sz="200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min</m:t>
                          </m:r>
                        </m:e>
                        <m:li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lim>
                      </m:limLow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f>
                        <m:f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supHide m:val="on"/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</m:sub>
                        <m:sup/>
                        <m:e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𝐽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整个批量数据的梯度更新参数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000" i="1">
                            <a:latin typeface="Cambria Math" panose="02040503050406030204" pitchFamily="18" charset="0"/>
                          </a:rPr>
                          <m:t>new</m:t>
                        </m:r>
                      </m:sub>
                    </m:sSub>
                    <m:r>
                      <m:rPr>
                        <m:lit/>
                      </m:rPr>
                      <a:rPr lang="en-US" altLang="zh-CN" sz="20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00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  </m:t>
                    </m:r>
                    <m:sSub>
                      <m:sSub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000" i="1">
                            <a:latin typeface="Cambria Math" panose="02040503050406030204" pitchFamily="18" charset="0"/>
                          </a:rPr>
                          <m:t>old</m:t>
                        </m:r>
                      </m:sub>
                    </m:sSub>
                    <m:r>
                      <a:rPr lang="en-US" altLang="zh-CN" sz="2000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𝜂</m:t>
                    </m:r>
                    <m:f>
                      <m:f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  <m:t>𝐽</m:t>
                            </m:r>
                          </m:e>
                          <m:sup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  <m:t>)</m:t>
                            </m:r>
                          </m:sup>
                        </m:sSup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𝜕𝜃</m:t>
                        </m:r>
                      </m:den>
                    </m:f>
                  </m:oMath>
                </a14:m>
                <a:endParaRPr lang="zh-CN" altLang="en-US" sz="2000" dirty="0"/>
              </a:p>
              <a:p>
                <a:pPr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sz="20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𝐽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−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f>
                        <m:f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</m:oMath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−</m:t>
                      </m:r>
                      <m:sSub>
                        <m:sSub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</m:e>
                        <m: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</m:sub>
                      </m:sSub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b>
                        <m:sSub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 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altLang="zh-CN" sz="20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new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old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𝜂</m:t>
                      </m:r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sSub>
                        <m:sSub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altLang="zh-CN" sz="20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比批量梯度下降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Arial" panose="020B0604020202020204" pitchFamily="34" charset="0"/>
                  <a:buChar char="•"/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快地更新参数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点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中不确定性或震荡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缺点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65454"/>
                <a:ext cx="8207448" cy="4596002"/>
              </a:xfrm>
              <a:prstGeom prst="rect">
                <a:avLst/>
              </a:prstGeom>
              <a:blipFill>
                <a:blip r:embed="rId5"/>
                <a:stretch>
                  <a:fillRect l="-445" t="-796" b="-119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线性回归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259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0</a:t>
            </a:fld>
            <a:endParaRPr lang="zh-CN" altLang="en-US" dirty="0"/>
          </a:p>
        </p:txBody>
      </p:sp>
      <p:sp>
        <p:nvSpPr>
          <p:cNvPr id="9" name="标题 1"/>
          <p:cNvSpPr txBox="1"/>
          <p:nvPr/>
        </p:nvSpPr>
        <p:spPr>
          <a:xfrm>
            <a:off x="681738" y="1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线性模型学习展示 </a:t>
            </a:r>
            <a:r>
              <a:rPr lang="en-US" altLang="zh-CN" dirty="0"/>
              <a:t>– </a:t>
            </a:r>
            <a:r>
              <a:rPr lang="zh-CN" altLang="en-US" dirty="0"/>
              <a:t>参数改变</a:t>
            </a:r>
          </a:p>
        </p:txBody>
      </p:sp>
      <p:pic>
        <p:nvPicPr>
          <p:cNvPr id="7" name="内容占位符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958" y="1244604"/>
            <a:ext cx="6170084" cy="4627563"/>
          </a:xfrm>
          <a:prstGeom prst="rect">
            <a:avLst/>
          </a:prstGeom>
        </p:spPr>
      </p:pic>
      <p:sp>
        <p:nvSpPr>
          <p:cNvPr id="8" name="文本框 2"/>
          <p:cNvSpPr txBox="1"/>
          <p:nvPr/>
        </p:nvSpPr>
        <p:spPr>
          <a:xfrm>
            <a:off x="3837482" y="5893636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梯度更新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21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rmAutofit fontScale="90000"/>
          </a:bodyPr>
          <a:lstStyle/>
          <a:p>
            <a:r>
              <a:rPr kumimoji="1" lang="zh-CN" altLang="en-US" dirty="0"/>
              <a:t>小批量梯度</a:t>
            </a:r>
            <a:br>
              <a:rPr kumimoji="1" lang="en-US" altLang="zh-CN" dirty="0"/>
            </a:br>
            <a:r>
              <a:rPr kumimoji="1" lang="zh-CN" altLang="en-US" dirty="0"/>
              <a:t>下降</a:t>
            </a: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小批量梯度下降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02443" y="1265454"/>
                <a:ext cx="8207448" cy="48710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  <a:buSzPct val="88000"/>
                </a:pP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批量梯度下降和随机梯度下降的结合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  <a:buSzPct val="88000"/>
                </a:pP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  <a:buSzPct val="88000"/>
                </a:pP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将整个训练集分成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𝐾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小批量（</a:t>
                </a:r>
                <a:r>
                  <a:rPr lang="en-US" altLang="zh-CN" sz="20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ini-batches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  <a:buSzPct val="88000"/>
                </a:pPr>
                <a:r>
                  <a:rPr lang="en-US" altLang="zh-CN" sz="2000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                              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{1,2,3,⋯,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𝐾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}</m:t>
                    </m:r>
                  </m:oMath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lnSpc>
                    <a:spcPct val="20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每一个小批量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, 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做一步批量下降来降低</a:t>
                </a:r>
                <a:endParaRPr lang="en-US" altLang="zh-CN" sz="2000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</m:e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𝑘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  <m:nary>
                        <m:naryPr>
                          <m:chr m:val="∑"/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𝑘</m:t>
                              </m:r>
                            </m:sub>
                          </m:sSub>
                        </m:sup>
                        <m:e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每一个小批量，更新参数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000" i="1">
                            <a:latin typeface="Cambria Math" panose="02040503050406030204" pitchFamily="18" charset="0"/>
                          </a:rPr>
                          <m:t>new</m:t>
                        </m:r>
                      </m:sub>
                    </m:sSub>
                    <m:r>
                      <m:rPr>
                        <m:lit/>
                      </m:rPr>
                      <a:rPr lang="en-US" altLang="zh-CN" sz="20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00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  </m:t>
                    </m:r>
                    <m:sSub>
                      <m:sSub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000" i="1">
                            <a:latin typeface="Cambria Math" panose="02040503050406030204" pitchFamily="18" charset="0"/>
                          </a:rPr>
                          <m:t>old</m:t>
                        </m:r>
                      </m:sub>
                    </m:sSub>
                    <m:r>
                      <a:rPr lang="en-US" altLang="zh-CN" sz="2000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𝜂</m:t>
                    </m:r>
                    <m:f>
                      <m:f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  <m:t>𝐽</m:t>
                            </m:r>
                          </m:e>
                          <m:sup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</a:rPr>
                              <m:t>)</m:t>
                            </m:r>
                          </m:sup>
                        </m:sSup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𝜕𝜃</m:t>
                        </m:r>
                      </m:den>
                    </m:f>
                  </m:oMath>
                </a14:m>
                <a:endParaRPr lang="en-US" altLang="zh-CN" sz="20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65454"/>
                <a:ext cx="8207448" cy="4871013"/>
              </a:xfrm>
              <a:prstGeom prst="rect">
                <a:avLst/>
              </a:prstGeom>
              <a:blipFill rotWithShape="1">
                <a:blip r:embed="rId5"/>
                <a:stretch>
                  <a:fillRect l="-445" b="-12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7" name="文本占位符 3"/>
          <p:cNvSpPr txBox="1"/>
          <p:nvPr/>
        </p:nvSpPr>
        <p:spPr>
          <a:xfrm>
            <a:off x="502444" y="2586437"/>
            <a:ext cx="136717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训练步骤</a:t>
            </a:r>
          </a:p>
        </p:txBody>
      </p:sp>
      <p:sp>
        <p:nvSpPr>
          <p:cNvPr id="8" name="文本占位符 3"/>
          <p:cNvSpPr txBox="1"/>
          <p:nvPr/>
        </p:nvSpPr>
        <p:spPr>
          <a:xfrm>
            <a:off x="502444" y="1193764"/>
            <a:ext cx="136717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思想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小批量梯度下降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3</a:t>
            </a:fld>
            <a:endParaRPr lang="zh-CN" alt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02443" y="1055904"/>
            <a:ext cx="8207448" cy="2782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结合了批量梯度下降和随机梯度下降的优点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SzPct val="88000"/>
              <a:buFont typeface="Arial" panose="020B0604020202020204" pitchFamily="34" charset="0"/>
              <a:buChar char="•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批量梯度下降的优秀的稳定性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SzPct val="88000"/>
              <a:buFont typeface="Arial" panose="020B0604020202020204" pitchFamily="34" charset="0"/>
              <a:buChar char="•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梯度下降的快速更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4480" indent="-284480">
              <a:lnSpc>
                <a:spcPct val="20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小批量梯度下降很适合使用在并行化计算中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SzPct val="88000"/>
              <a:buFont typeface="Arial" panose="020B0604020202020204" pitchFamily="34" charset="0"/>
              <a:buChar char="•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将每个小批量数据进一步切分，每个线程分别计算梯度，最后再加和这些梯度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7" name="组合 55"/>
          <p:cNvGrpSpPr/>
          <p:nvPr/>
        </p:nvGrpSpPr>
        <p:grpSpPr>
          <a:xfrm>
            <a:off x="964744" y="3872988"/>
            <a:ext cx="7230210" cy="2470666"/>
            <a:chOff x="982639" y="4082954"/>
            <a:chExt cx="7230210" cy="2470666"/>
          </a:xfrm>
        </p:grpSpPr>
        <p:sp>
          <p:nvSpPr>
            <p:cNvPr id="8" name="矩形 3"/>
            <p:cNvSpPr/>
            <p:nvPr/>
          </p:nvSpPr>
          <p:spPr>
            <a:xfrm>
              <a:off x="982639" y="5086485"/>
              <a:ext cx="1037230" cy="90075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Mini-batch</a:t>
              </a:r>
            </a:p>
          </p:txBody>
        </p:sp>
        <p:grpSp>
          <p:nvGrpSpPr>
            <p:cNvPr id="9" name="组合 10"/>
            <p:cNvGrpSpPr/>
            <p:nvPr/>
          </p:nvGrpSpPr>
          <p:grpSpPr>
            <a:xfrm>
              <a:off x="3610167" y="4547399"/>
              <a:ext cx="1692318" cy="450376"/>
              <a:chOff x="2033517" y="4244453"/>
              <a:chExt cx="1692318" cy="450376"/>
            </a:xfrm>
          </p:grpSpPr>
          <p:sp>
            <p:nvSpPr>
              <p:cNvPr id="42" name="矩形 4"/>
              <p:cNvSpPr/>
              <p:nvPr/>
            </p:nvSpPr>
            <p:spPr>
              <a:xfrm>
                <a:off x="203351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矩形 5"/>
              <p:cNvSpPr/>
              <p:nvPr/>
            </p:nvSpPr>
            <p:spPr>
              <a:xfrm>
                <a:off x="233376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矩形 6"/>
              <p:cNvSpPr/>
              <p:nvPr/>
            </p:nvSpPr>
            <p:spPr>
              <a:xfrm>
                <a:off x="263401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矩形 7"/>
              <p:cNvSpPr/>
              <p:nvPr/>
            </p:nvSpPr>
            <p:spPr>
              <a:xfrm>
                <a:off x="293426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矩形 8"/>
              <p:cNvSpPr/>
              <p:nvPr/>
            </p:nvSpPr>
            <p:spPr>
              <a:xfrm>
                <a:off x="323451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矩形 9"/>
              <p:cNvSpPr/>
              <p:nvPr/>
            </p:nvSpPr>
            <p:spPr>
              <a:xfrm>
                <a:off x="353476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" name="组合 11"/>
            <p:cNvGrpSpPr/>
            <p:nvPr/>
          </p:nvGrpSpPr>
          <p:grpSpPr>
            <a:xfrm>
              <a:off x="3610167" y="5311674"/>
              <a:ext cx="1692318" cy="450376"/>
              <a:chOff x="2033517" y="4244453"/>
              <a:chExt cx="1692318" cy="450376"/>
            </a:xfrm>
          </p:grpSpPr>
          <p:sp>
            <p:nvSpPr>
              <p:cNvPr id="36" name="矩形 12"/>
              <p:cNvSpPr/>
              <p:nvPr/>
            </p:nvSpPr>
            <p:spPr>
              <a:xfrm>
                <a:off x="203351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矩形 13"/>
              <p:cNvSpPr/>
              <p:nvPr/>
            </p:nvSpPr>
            <p:spPr>
              <a:xfrm>
                <a:off x="233376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矩形 14"/>
              <p:cNvSpPr/>
              <p:nvPr/>
            </p:nvSpPr>
            <p:spPr>
              <a:xfrm>
                <a:off x="263401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矩形 15"/>
              <p:cNvSpPr/>
              <p:nvPr/>
            </p:nvSpPr>
            <p:spPr>
              <a:xfrm>
                <a:off x="293426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矩形 16"/>
              <p:cNvSpPr/>
              <p:nvPr/>
            </p:nvSpPr>
            <p:spPr>
              <a:xfrm>
                <a:off x="323451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矩形 17"/>
              <p:cNvSpPr/>
              <p:nvPr/>
            </p:nvSpPr>
            <p:spPr>
              <a:xfrm>
                <a:off x="353476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组合 18"/>
            <p:cNvGrpSpPr/>
            <p:nvPr/>
          </p:nvGrpSpPr>
          <p:grpSpPr>
            <a:xfrm>
              <a:off x="3610167" y="6103244"/>
              <a:ext cx="1692318" cy="450376"/>
              <a:chOff x="2033517" y="4244453"/>
              <a:chExt cx="1692318" cy="450376"/>
            </a:xfrm>
          </p:grpSpPr>
          <p:sp>
            <p:nvSpPr>
              <p:cNvPr id="30" name="矩形 19"/>
              <p:cNvSpPr/>
              <p:nvPr/>
            </p:nvSpPr>
            <p:spPr>
              <a:xfrm>
                <a:off x="203351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矩形 20"/>
              <p:cNvSpPr/>
              <p:nvPr/>
            </p:nvSpPr>
            <p:spPr>
              <a:xfrm>
                <a:off x="233376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矩形 21"/>
              <p:cNvSpPr/>
              <p:nvPr/>
            </p:nvSpPr>
            <p:spPr>
              <a:xfrm>
                <a:off x="263401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矩形 22"/>
              <p:cNvSpPr/>
              <p:nvPr/>
            </p:nvSpPr>
            <p:spPr>
              <a:xfrm>
                <a:off x="293426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矩形 23"/>
              <p:cNvSpPr/>
              <p:nvPr/>
            </p:nvSpPr>
            <p:spPr>
              <a:xfrm>
                <a:off x="323451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矩形 24"/>
              <p:cNvSpPr/>
              <p:nvPr/>
            </p:nvSpPr>
            <p:spPr>
              <a:xfrm>
                <a:off x="3534767" y="4244453"/>
                <a:ext cx="191068" cy="4503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2" name="文本框 25"/>
            <p:cNvSpPr txBox="1"/>
            <p:nvPr/>
          </p:nvSpPr>
          <p:spPr>
            <a:xfrm>
              <a:off x="2565779" y="4586657"/>
              <a:ext cx="10443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/>
                <a:t>Worker 1</a:t>
              </a:r>
              <a:endParaRPr lang="en-US" dirty="0"/>
            </a:p>
          </p:txBody>
        </p:sp>
        <p:sp>
          <p:nvSpPr>
            <p:cNvPr id="13" name="文本框 26"/>
            <p:cNvSpPr txBox="1"/>
            <p:nvPr/>
          </p:nvSpPr>
          <p:spPr>
            <a:xfrm>
              <a:off x="2565779" y="5352195"/>
              <a:ext cx="10443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/>
                <a:t>Worker 2</a:t>
              </a:r>
              <a:endParaRPr lang="en-US" dirty="0"/>
            </a:p>
          </p:txBody>
        </p:sp>
        <p:sp>
          <p:nvSpPr>
            <p:cNvPr id="14" name="文本框 27"/>
            <p:cNvSpPr txBox="1"/>
            <p:nvPr/>
          </p:nvSpPr>
          <p:spPr>
            <a:xfrm>
              <a:off x="2565779" y="6157833"/>
              <a:ext cx="10443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/>
                <a:t>Worker 3</a:t>
              </a:r>
              <a:endParaRPr lang="en-US" dirty="0"/>
            </a:p>
          </p:txBody>
        </p:sp>
        <p:cxnSp>
          <p:nvCxnSpPr>
            <p:cNvPr id="15" name="曲线连接符 31"/>
            <p:cNvCxnSpPr>
              <a:stCxn id="8" idx="3"/>
              <a:endCxn id="12" idx="1"/>
            </p:cNvCxnSpPr>
            <p:nvPr/>
          </p:nvCxnSpPr>
          <p:spPr>
            <a:xfrm flipV="1">
              <a:off x="2019869" y="4771323"/>
              <a:ext cx="545910" cy="765539"/>
            </a:xfrm>
            <a:prstGeom prst="curvedConnector3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曲线连接符 33"/>
            <p:cNvCxnSpPr>
              <a:stCxn id="8" idx="3"/>
              <a:endCxn id="13" idx="1"/>
            </p:cNvCxnSpPr>
            <p:nvPr/>
          </p:nvCxnSpPr>
          <p:spPr>
            <a:xfrm flipV="1">
              <a:off x="2019869" y="5536861"/>
              <a:ext cx="545910" cy="1"/>
            </a:xfrm>
            <a:prstGeom prst="curvedConnector3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曲线连接符 35"/>
            <p:cNvCxnSpPr>
              <a:stCxn id="8" idx="3"/>
              <a:endCxn id="14" idx="1"/>
            </p:cNvCxnSpPr>
            <p:nvPr/>
          </p:nvCxnSpPr>
          <p:spPr>
            <a:xfrm>
              <a:off x="2019869" y="5536862"/>
              <a:ext cx="545910" cy="805637"/>
            </a:xfrm>
            <a:prstGeom prst="curvedConnector3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文本框 39"/>
            <p:cNvSpPr txBox="1"/>
            <p:nvPr/>
          </p:nvSpPr>
          <p:spPr>
            <a:xfrm>
              <a:off x="3818575" y="4082954"/>
              <a:ext cx="12454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/>
                <a:t>Parallelized</a:t>
              </a:r>
              <a:endParaRPr lang="en-US" dirty="0"/>
            </a:p>
          </p:txBody>
        </p:sp>
        <p:sp>
          <p:nvSpPr>
            <p:cNvPr id="19" name="文本框 40"/>
            <p:cNvSpPr txBox="1"/>
            <p:nvPr/>
          </p:nvSpPr>
          <p:spPr>
            <a:xfrm>
              <a:off x="2019869" y="4082954"/>
              <a:ext cx="6142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/>
                <a:t>Map</a:t>
              </a:r>
              <a:endParaRPr lang="en-US" dirty="0"/>
            </a:p>
          </p:txBody>
        </p:sp>
        <p:sp>
          <p:nvSpPr>
            <p:cNvPr id="20" name="椭圆 42"/>
            <p:cNvSpPr/>
            <p:nvPr/>
          </p:nvSpPr>
          <p:spPr>
            <a:xfrm>
              <a:off x="5622878" y="4600305"/>
              <a:ext cx="369332" cy="369332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椭圆 43"/>
            <p:cNvSpPr/>
            <p:nvPr/>
          </p:nvSpPr>
          <p:spPr>
            <a:xfrm>
              <a:off x="5622878" y="5344106"/>
              <a:ext cx="369332" cy="369332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椭圆 44"/>
            <p:cNvSpPr/>
            <p:nvPr/>
          </p:nvSpPr>
          <p:spPr>
            <a:xfrm>
              <a:off x="5622878" y="6143766"/>
              <a:ext cx="369332" cy="369332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文本框 45"/>
            <p:cNvSpPr txBox="1"/>
            <p:nvPr/>
          </p:nvSpPr>
          <p:spPr>
            <a:xfrm>
              <a:off x="5305868" y="4082954"/>
              <a:ext cx="10033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/>
                <a:t>Gradient</a:t>
              </a:r>
              <a:endParaRPr lang="en-US" dirty="0"/>
            </a:p>
          </p:txBody>
        </p:sp>
        <p:sp>
          <p:nvSpPr>
            <p:cNvPr id="24" name="文本框 46"/>
            <p:cNvSpPr txBox="1"/>
            <p:nvPr/>
          </p:nvSpPr>
          <p:spPr>
            <a:xfrm>
              <a:off x="6248416" y="4082954"/>
              <a:ext cx="8779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/>
                <a:t>Reduce</a:t>
              </a:r>
              <a:endParaRPr lang="en-US" dirty="0"/>
            </a:p>
          </p:txBody>
        </p:sp>
        <p:sp>
          <p:nvSpPr>
            <p:cNvPr id="25" name="椭圆 47"/>
            <p:cNvSpPr/>
            <p:nvPr/>
          </p:nvSpPr>
          <p:spPr>
            <a:xfrm>
              <a:off x="7356144" y="5344106"/>
              <a:ext cx="369332" cy="369332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文本框 48"/>
            <p:cNvSpPr txBox="1"/>
            <p:nvPr/>
          </p:nvSpPr>
          <p:spPr>
            <a:xfrm>
              <a:off x="7156598" y="4082954"/>
              <a:ext cx="105625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dirty="0"/>
                <a:t>Gradient </a:t>
              </a:r>
            </a:p>
            <a:p>
              <a:pPr algn="ctr"/>
              <a:r>
                <a:rPr lang="en-US" altLang="zh-CN" dirty="0"/>
                <a:t>Sum</a:t>
              </a:r>
              <a:endParaRPr lang="en-US" dirty="0"/>
            </a:p>
          </p:txBody>
        </p:sp>
        <p:cxnSp>
          <p:nvCxnSpPr>
            <p:cNvPr id="27" name="曲线连接符 50"/>
            <p:cNvCxnSpPr>
              <a:stCxn id="20" idx="6"/>
              <a:endCxn id="25" idx="2"/>
            </p:cNvCxnSpPr>
            <p:nvPr/>
          </p:nvCxnSpPr>
          <p:spPr>
            <a:xfrm>
              <a:off x="5992210" y="4784971"/>
              <a:ext cx="1363934" cy="743801"/>
            </a:xfrm>
            <a:prstGeom prst="curvedConnector3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曲线连接符 52"/>
            <p:cNvCxnSpPr>
              <a:stCxn id="21" idx="6"/>
              <a:endCxn id="25" idx="2"/>
            </p:cNvCxnSpPr>
            <p:nvPr/>
          </p:nvCxnSpPr>
          <p:spPr>
            <a:xfrm>
              <a:off x="5992210" y="5528772"/>
              <a:ext cx="1363934" cy="12700"/>
            </a:xfrm>
            <a:prstGeom prst="curvedConnector3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曲线连接符 54"/>
            <p:cNvCxnSpPr>
              <a:stCxn id="22" idx="6"/>
              <a:endCxn id="25" idx="2"/>
            </p:cNvCxnSpPr>
            <p:nvPr/>
          </p:nvCxnSpPr>
          <p:spPr>
            <a:xfrm flipV="1">
              <a:off x="5992210" y="5528772"/>
              <a:ext cx="1363934" cy="799660"/>
            </a:xfrm>
            <a:prstGeom prst="curvedConnector3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24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基本搜索步骤</a:t>
            </a: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4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基本搜索步骤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02443" y="1265454"/>
                <a:ext cx="8207448" cy="14341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选择一个参数初始化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数据和梯度算法来更新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直到走到局部一个最小区域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en-US" altLang="zh-CN" sz="20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local minimum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65454"/>
                <a:ext cx="8207448" cy="1434175"/>
              </a:xfrm>
              <a:prstGeom prst="rect">
                <a:avLst/>
              </a:prstGeom>
              <a:blipFill rotWithShape="1">
                <a:blip r:embed="rId5"/>
                <a:stretch>
                  <a:fillRect l="-445" b="-680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pic>
        <p:nvPicPr>
          <p:cNvPr id="48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8161" y="2918381"/>
            <a:ext cx="6383524" cy="328828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基本搜索步骤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02443" y="1265454"/>
                <a:ext cx="8207448" cy="14341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选择一个新的参数初始化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数据和梯度算法来更新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直到走到局部一个最小区域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en-US" altLang="zh-CN" sz="20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local minimum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65454"/>
                <a:ext cx="8207448" cy="1434175"/>
              </a:xfrm>
              <a:prstGeom prst="rect">
                <a:avLst/>
              </a:prstGeom>
              <a:blipFill rotWithShape="1">
                <a:blip r:embed="rId5"/>
                <a:stretch>
                  <a:fillRect l="-445" b="-680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pic>
        <p:nvPicPr>
          <p:cNvPr id="7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2513" y="2866822"/>
            <a:ext cx="6549934" cy="3328218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凸优化目标函数具有唯一最小点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7</a:t>
            </a:fld>
            <a:endParaRPr lang="zh-CN" alt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02443" y="1265454"/>
            <a:ext cx="8207448" cy="4665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  <a:buClr>
                <a:schemeClr val="accent1"/>
              </a:buClr>
              <a:buSzPct val="88000"/>
            </a:pPr>
            <a:endParaRPr lang="en-US" altLang="zh-CN" sz="2000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4480" indent="-284480">
              <a:lnSpc>
                <a:spcPct val="150000"/>
              </a:lnSpc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同的初始化参数最终也会学习到相同的最优值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9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1707" y="1110677"/>
            <a:ext cx="5505712" cy="4256454"/>
          </a:xfrm>
          <a:prstGeom prst="rect">
            <a:avLst/>
          </a:prstGeom>
        </p:spPr>
      </p:pic>
      <p:sp>
        <p:nvSpPr>
          <p:cNvPr id="10" name="任意多边形 15"/>
          <p:cNvSpPr/>
          <p:nvPr/>
        </p:nvSpPr>
        <p:spPr>
          <a:xfrm>
            <a:off x="4458789" y="2866179"/>
            <a:ext cx="1055109" cy="1306286"/>
          </a:xfrm>
          <a:custGeom>
            <a:avLst/>
            <a:gdLst>
              <a:gd name="connsiteX0" fmla="*/ 0 w 1055109"/>
              <a:gd name="connsiteY0" fmla="*/ 1306286 h 1306286"/>
              <a:gd name="connsiteX1" fmla="*/ 1036320 w 1055109"/>
              <a:gd name="connsiteY1" fmla="*/ 853440 h 1306286"/>
              <a:gd name="connsiteX2" fmla="*/ 670560 w 1055109"/>
              <a:gd name="connsiteY2" fmla="*/ 0 h 130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5109" h="1306286">
                <a:moveTo>
                  <a:pt x="0" y="1306286"/>
                </a:moveTo>
                <a:cubicBezTo>
                  <a:pt x="462280" y="1188720"/>
                  <a:pt x="924560" y="1071154"/>
                  <a:pt x="1036320" y="853440"/>
                </a:cubicBezTo>
                <a:cubicBezTo>
                  <a:pt x="1148080" y="635726"/>
                  <a:pt x="727166" y="65314"/>
                  <a:pt x="670560" y="0"/>
                </a:cubicBezTo>
              </a:path>
            </a:pathLst>
          </a:cu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 16"/>
          <p:cNvSpPr/>
          <p:nvPr/>
        </p:nvSpPr>
        <p:spPr>
          <a:xfrm>
            <a:off x="2560320" y="2254657"/>
            <a:ext cx="2534194" cy="550562"/>
          </a:xfrm>
          <a:custGeom>
            <a:avLst/>
            <a:gdLst>
              <a:gd name="connsiteX0" fmla="*/ 0 w 2534194"/>
              <a:gd name="connsiteY0" fmla="*/ 167385 h 550562"/>
              <a:gd name="connsiteX1" fmla="*/ 1567543 w 2534194"/>
              <a:gd name="connsiteY1" fmla="*/ 19339 h 550562"/>
              <a:gd name="connsiteX2" fmla="*/ 2534194 w 2534194"/>
              <a:gd name="connsiteY2" fmla="*/ 550562 h 550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34194" h="550562">
                <a:moveTo>
                  <a:pt x="0" y="167385"/>
                </a:moveTo>
                <a:cubicBezTo>
                  <a:pt x="572588" y="61430"/>
                  <a:pt x="1145177" y="-44524"/>
                  <a:pt x="1567543" y="19339"/>
                </a:cubicBezTo>
                <a:cubicBezTo>
                  <a:pt x="1989909" y="83202"/>
                  <a:pt x="2442754" y="520082"/>
                  <a:pt x="2534194" y="550562"/>
                </a:cubicBezTo>
              </a:path>
            </a:pathLst>
          </a:custGeom>
          <a:ln>
            <a:prstDash val="dashDot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 17"/>
          <p:cNvSpPr/>
          <p:nvPr/>
        </p:nvSpPr>
        <p:spPr>
          <a:xfrm>
            <a:off x="5062704" y="1720245"/>
            <a:ext cx="1346805" cy="1478963"/>
          </a:xfrm>
          <a:custGeom>
            <a:avLst/>
            <a:gdLst>
              <a:gd name="connsiteX0" fmla="*/ 1346805 w 1346805"/>
              <a:gd name="connsiteY0" fmla="*/ 344745 h 1478963"/>
              <a:gd name="connsiteX1" fmla="*/ 5685 w 1346805"/>
              <a:gd name="connsiteY1" fmla="*/ 66071 h 1478963"/>
              <a:gd name="connsiteX2" fmla="*/ 832999 w 1346805"/>
              <a:gd name="connsiteY2" fmla="*/ 1442025 h 1478963"/>
              <a:gd name="connsiteX3" fmla="*/ 23102 w 1346805"/>
              <a:gd name="connsiteY3" fmla="*/ 1093682 h 1478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46805" h="1478963">
                <a:moveTo>
                  <a:pt x="1346805" y="344745"/>
                </a:moveTo>
                <a:cubicBezTo>
                  <a:pt x="719062" y="113968"/>
                  <a:pt x="91319" y="-116809"/>
                  <a:pt x="5685" y="66071"/>
                </a:cubicBezTo>
                <a:cubicBezTo>
                  <a:pt x="-79949" y="248951"/>
                  <a:pt x="830096" y="1270757"/>
                  <a:pt x="832999" y="1442025"/>
                </a:cubicBezTo>
                <a:cubicBezTo>
                  <a:pt x="835902" y="1613293"/>
                  <a:pt x="160988" y="1135773"/>
                  <a:pt x="23102" y="1093682"/>
                </a:cubicBezTo>
              </a:path>
            </a:pathLst>
          </a:custGeom>
          <a:ln>
            <a:prstDash val="sysDot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五角星 4"/>
          <p:cNvSpPr/>
          <p:nvPr/>
        </p:nvSpPr>
        <p:spPr>
          <a:xfrm>
            <a:off x="4990011" y="2716461"/>
            <a:ext cx="191588" cy="191588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凸集 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Convex Set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6212393" cy="206381"/>
          </a:xfrm>
        </p:spPr>
        <p:txBody>
          <a:bodyPr/>
          <a:lstStyle/>
          <a:p>
            <a:r>
              <a:rPr lang="en-US" altLang="zh-CN" dirty="0"/>
              <a:t>Boyd, Stephen, and Lieven </a:t>
            </a:r>
            <a:r>
              <a:rPr lang="en-US" altLang="zh-CN" dirty="0" err="1"/>
              <a:t>Vandenberghe</a:t>
            </a:r>
            <a:r>
              <a:rPr lang="en-US" altLang="zh-CN" dirty="0"/>
              <a:t>. </a:t>
            </a:r>
            <a:r>
              <a:rPr lang="en-US" altLang="zh-CN" i="1" dirty="0"/>
              <a:t>Convex optimization</a:t>
            </a:r>
            <a:r>
              <a:rPr lang="en-US" altLang="zh-CN" dirty="0"/>
              <a:t>. Cambridge university press, 2004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02443" y="1265454"/>
                <a:ext cx="8207448" cy="20928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buClr>
                    <a:schemeClr val="accent1"/>
                  </a:buClr>
                  <a:buSzPct val="88000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个点集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被称为凸集，当且仅当该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里的任意两点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连线上任意一点同样属于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</m:oMath>
                </a14:m>
                <a:endParaRPr lang="en-US" altLang="zh-CN" sz="20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𝑡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−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e>
                      </m:d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∈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𝑆</m:t>
                      </m:r>
                    </m:oMath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for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all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∈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𝑆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0≤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𝑡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≤1 </m:t>
                      </m:r>
                    </m:oMath>
                  </m:oMathPara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65454"/>
                <a:ext cx="8207448" cy="2092881"/>
              </a:xfrm>
              <a:prstGeom prst="rect">
                <a:avLst/>
              </a:prstGeom>
              <a:blipFill rotWithShape="1">
                <a:blip r:embed="rId5"/>
                <a:stretch>
                  <a:fillRect l="-7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pic>
        <p:nvPicPr>
          <p:cNvPr id="8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8456" y="3426622"/>
            <a:ext cx="2214309" cy="2003923"/>
          </a:xfrm>
          <a:prstGeom prst="rect">
            <a:avLst/>
          </a:prstGeom>
        </p:spPr>
      </p:pic>
      <p:pic>
        <p:nvPicPr>
          <p:cNvPr id="9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63701" y="3763126"/>
            <a:ext cx="2558474" cy="1667419"/>
          </a:xfrm>
          <a:prstGeom prst="rect">
            <a:avLst/>
          </a:prstGeom>
        </p:spPr>
      </p:pic>
      <p:cxnSp>
        <p:nvCxnSpPr>
          <p:cNvPr id="10" name="直接连接符 6"/>
          <p:cNvCxnSpPr/>
          <p:nvPr/>
        </p:nvCxnSpPr>
        <p:spPr>
          <a:xfrm>
            <a:off x="2066705" y="4369597"/>
            <a:ext cx="942975" cy="28575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文本框 9"/>
          <p:cNvSpPr txBox="1"/>
          <p:nvPr/>
        </p:nvSpPr>
        <p:spPr>
          <a:xfrm>
            <a:off x="1878587" y="4119566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/>
              <a:t>A</a:t>
            </a:r>
            <a:endParaRPr lang="zh-CN" altLang="en-US" sz="1200" dirty="0"/>
          </a:p>
        </p:txBody>
      </p:sp>
      <p:sp>
        <p:nvSpPr>
          <p:cNvPr id="12" name="文本框 10"/>
          <p:cNvSpPr txBox="1"/>
          <p:nvPr/>
        </p:nvSpPr>
        <p:spPr>
          <a:xfrm>
            <a:off x="2964571" y="4530747"/>
            <a:ext cx="2680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/>
              <a:t>B</a:t>
            </a:r>
            <a:endParaRPr lang="zh-CN" altLang="en-US" sz="1200" dirty="0"/>
          </a:p>
        </p:txBody>
      </p:sp>
      <p:sp>
        <p:nvSpPr>
          <p:cNvPr id="13" name="文本框 11"/>
          <p:cNvSpPr txBox="1"/>
          <p:nvPr/>
        </p:nvSpPr>
        <p:spPr>
          <a:xfrm>
            <a:off x="5627627" y="4767266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/>
              <a:t>A</a:t>
            </a:r>
            <a:endParaRPr lang="zh-CN" altLang="en-US" sz="1200" dirty="0"/>
          </a:p>
        </p:txBody>
      </p:sp>
      <p:sp>
        <p:nvSpPr>
          <p:cNvPr id="14" name="文本框 12"/>
          <p:cNvSpPr txBox="1"/>
          <p:nvPr/>
        </p:nvSpPr>
        <p:spPr>
          <a:xfrm>
            <a:off x="7269871" y="4347867"/>
            <a:ext cx="2680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/>
              <a:t>B</a:t>
            </a:r>
            <a:endParaRPr lang="zh-CN" altLang="en-US" sz="1200" dirty="0"/>
          </a:p>
        </p:txBody>
      </p:sp>
      <p:sp>
        <p:nvSpPr>
          <p:cNvPr id="15" name="内容占位符 2"/>
          <p:cNvSpPr txBox="1"/>
          <p:nvPr/>
        </p:nvSpPr>
        <p:spPr>
          <a:xfrm>
            <a:off x="1878587" y="5509960"/>
            <a:ext cx="1443037" cy="374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凸集</a:t>
            </a:r>
          </a:p>
        </p:txBody>
      </p:sp>
      <p:sp>
        <p:nvSpPr>
          <p:cNvPr id="16" name="内容占位符 2"/>
          <p:cNvSpPr txBox="1"/>
          <p:nvPr/>
        </p:nvSpPr>
        <p:spPr>
          <a:xfrm>
            <a:off x="5365053" y="5509960"/>
            <a:ext cx="2183131" cy="374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非凸集</a:t>
            </a:r>
          </a:p>
        </p:txBody>
      </p:sp>
      <p:sp>
        <p:nvSpPr>
          <p:cNvPr id="17" name="文本占位符 3"/>
          <p:cNvSpPr txBox="1"/>
          <p:nvPr/>
        </p:nvSpPr>
        <p:spPr>
          <a:xfrm>
            <a:off x="502444" y="1222339"/>
            <a:ext cx="1692115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凸集的定义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凸</a:t>
            </a:r>
            <a:r>
              <a:rPr lang="zh-CN" altLang="en-US" dirty="0"/>
              <a:t>函数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 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Convex Function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9</a:t>
            </a:fld>
            <a:endParaRPr lang="zh-CN" altLang="en-US" dirty="0"/>
          </a:p>
        </p:txBody>
      </p:sp>
      <p:pic>
        <p:nvPicPr>
          <p:cNvPr id="17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4000" y="1095122"/>
            <a:ext cx="6057999" cy="3681738"/>
          </a:xfrm>
          <a:prstGeom prst="rect">
            <a:avLst/>
          </a:prstGeom>
        </p:spPr>
      </p:pic>
      <p:sp>
        <p:nvSpPr>
          <p:cNvPr id="18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/>
          <a:p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502443" y="5109806"/>
                <a:ext cx="8137922" cy="1261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ℝ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是凸函数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</a:t>
                </a:r>
                <a14:m>
                  <m:oMath xmlns:m="http://schemas.openxmlformats.org/officeDocument/2006/math">
                    <m:r>
                      <a:rPr lang="en-US" altLang="zh-CN" sz="2000" b="1" i="0" smtClean="0">
                        <a:latin typeface="Cambria Math" panose="02040503050406030204" pitchFamily="18" charset="0"/>
                        <a:ea typeface="阿里巴巴普惠体 B" panose="00020600040101010101" pitchFamily="18" charset="-122"/>
                        <a:cs typeface="阿里巴巴普惠体 B" panose="00020600040101010101" pitchFamily="18" charset="-122"/>
                      </a:rPr>
                      <m:t>𝐝𝐨𝐦</m:t>
                    </m:r>
                    <m:r>
                      <a:rPr lang="en-US" altLang="zh-CN" sz="2000" b="0" i="0" smtClean="0">
                        <a:latin typeface="Cambria Math" panose="02040503050406030204" pitchFamily="18" charset="0"/>
                        <a:ea typeface="阿里巴巴普惠体 B" panose="00020600040101010101" pitchFamily="18" charset="-122"/>
                        <a:cs typeface="阿里巴巴普惠体 B" panose="00020600040101010101" pitchFamily="18" charset="-122"/>
                      </a:rPr>
                      <m:t>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B" panose="00020600040101010101" pitchFamily="18" charset="-122"/>
                        <a:cs typeface="阿里巴巴普惠体 B" panose="00020600040101010101" pitchFamily="18" charset="-122"/>
                      </a:rPr>
                      <m:t>𝑓</m:t>
                    </m:r>
                  </m:oMath>
                </a14:m>
                <a:r>
                  <a:rPr lang="zh-CN" altLang="en-US" sz="2000" dirty="0">
                    <a:latin typeface="阿里巴巴普惠体 B" panose="00020600040101010101" pitchFamily="18" charset="-122"/>
                    <a:ea typeface="阿里巴巴普惠体 B" panose="00020600040101010101" pitchFamily="18" charset="-122"/>
                    <a:cs typeface="阿里巴巴普惠体 B" panose="00020600040101010101" pitchFamily="18" charset="-122"/>
                  </a:rPr>
                  <a:t> 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一个凸集，并且满足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sz="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𝑓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−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e>
                          </m:d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≤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𝑡𝑓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−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𝑓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</m:t>
                      </m:r>
                    </m:oMath>
                  </m:oMathPara>
                </a14:m>
                <a:endParaRPr lang="en-US" altLang="zh-CN" sz="2000" b="0" i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sz="800" b="0" i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∀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∈</m:t>
                      </m:r>
                      <m:r>
                        <a:rPr lang="en-US" altLang="zh-CN" sz="2000" b="1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𝐝𝐨𝐦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𝑓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sz="2000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0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≤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𝑡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≤1</m:t>
                      </m:r>
                    </m:oMath>
                  </m:oMathPara>
                </a14:m>
                <a:endParaRPr lang="zh-CN" altLang="en-US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5109806"/>
                <a:ext cx="8137922" cy="1261884"/>
              </a:xfrm>
              <a:prstGeom prst="rect">
                <a:avLst/>
              </a:prstGeom>
              <a:blipFill rotWithShape="1">
                <a:blip r:embed="rId6"/>
                <a:stretch>
                  <a:fillRect l="-300" t="-1932" b="-386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19" name="文本占位符 3"/>
          <p:cNvSpPr txBox="1"/>
          <p:nvPr/>
        </p:nvSpPr>
        <p:spPr>
          <a:xfrm>
            <a:off x="502442" y="4558909"/>
            <a:ext cx="193595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凸函数的定义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判别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</a:t>
            </a:fld>
            <a:endParaRPr lang="zh-CN" altLang="en-US" dirty="0"/>
          </a:p>
        </p:txBody>
      </p:sp>
      <p:sp>
        <p:nvSpPr>
          <p:cNvPr id="5" name="文本占位符 3"/>
          <p:cNvSpPr txBox="1"/>
          <p:nvPr/>
        </p:nvSpPr>
        <p:spPr>
          <a:xfrm>
            <a:off x="502444" y="1374739"/>
            <a:ext cx="136717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判别模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1938727"/>
                <a:ext cx="8137922" cy="191771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775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性质</a:t>
                </a:r>
                <a:r>
                  <a:rPr lang="en-US" altLang="zh-CN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</a:p>
              <a:p>
                <a:pPr lvl="1"/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建模预测变量和观测变量之间的关系</a:t>
                </a:r>
                <a:endParaRPr lang="en-US" altLang="zh-CN" sz="23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也称作条件模型 </a:t>
                </a:r>
                <a:r>
                  <a:rPr lang="en-US" altLang="zh-CN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en-US" altLang="zh-CN" sz="23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onditional Models</a:t>
                </a:r>
                <a:r>
                  <a:rPr lang="en-US" altLang="zh-CN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</a:p>
              <a:p>
                <a:r>
                  <a:rPr lang="zh-CN" altLang="en-US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类</a:t>
                </a:r>
                <a:endParaRPr lang="en-US" altLang="zh-CN" sz="2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3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判别模型</a:t>
                </a:r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</a:t>
                </a:r>
                <a14:m>
                  <m:oMath xmlns:m="http://schemas.openxmlformats.org/officeDocument/2006/math"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sz="23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zh-CN" altLang="en-US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23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概率判别模型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23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938727"/>
                <a:ext cx="8137922" cy="1917717"/>
              </a:xfrm>
              <a:prstGeom prst="rect">
                <a:avLst/>
              </a:prstGeom>
              <a:blipFill>
                <a:blip r:embed="rId4"/>
                <a:stretch>
                  <a:fillRect l="-467" t="-5263" b="-65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内容占位符 2"/>
          <p:cNvSpPr txBox="1"/>
          <p:nvPr/>
        </p:nvSpPr>
        <p:spPr>
          <a:xfrm>
            <a:off x="808973" y="4021982"/>
            <a:ext cx="5648976" cy="411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本节集中介绍线性判别模型 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linear regression)</a:t>
            </a:r>
          </a:p>
        </p:txBody>
      </p:sp>
    </p:spTree>
    <p:custDataLst>
      <p:tags r:id="rId1"/>
    </p:custData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学习率的选择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30</a:t>
            </a:fld>
            <a:endParaRPr lang="zh-CN" altLang="en-US" dirty="0"/>
          </a:p>
        </p:txBody>
      </p:sp>
      <p:sp>
        <p:nvSpPr>
          <p:cNvPr id="18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/>
          <a:p>
            <a:endParaRPr lang="zh-CN" altLang="en-US" dirty="0"/>
          </a:p>
        </p:txBody>
      </p:sp>
      <p:grpSp>
        <p:nvGrpSpPr>
          <p:cNvPr id="39" name="组合 3"/>
          <p:cNvGrpSpPr/>
          <p:nvPr/>
        </p:nvGrpSpPr>
        <p:grpSpPr>
          <a:xfrm>
            <a:off x="519195" y="1850957"/>
            <a:ext cx="3583970" cy="2648396"/>
            <a:chOff x="1580804" y="1270000"/>
            <a:chExt cx="5412832" cy="3999844"/>
          </a:xfrm>
        </p:grpSpPr>
        <p:pic>
          <p:nvPicPr>
            <p:cNvPr id="40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80804" y="1270000"/>
              <a:ext cx="5412832" cy="3999844"/>
            </a:xfrm>
            <a:prstGeom prst="rect">
              <a:avLst/>
            </a:prstGeom>
          </p:spPr>
        </p:pic>
        <p:sp>
          <p:nvSpPr>
            <p:cNvPr id="41" name="椭圆 7"/>
            <p:cNvSpPr/>
            <p:nvPr/>
          </p:nvSpPr>
          <p:spPr>
            <a:xfrm>
              <a:off x="6396087" y="2497738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椭圆 21"/>
            <p:cNvSpPr/>
            <p:nvPr/>
          </p:nvSpPr>
          <p:spPr>
            <a:xfrm>
              <a:off x="6357881" y="2586276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椭圆 22"/>
            <p:cNvSpPr/>
            <p:nvPr/>
          </p:nvSpPr>
          <p:spPr>
            <a:xfrm>
              <a:off x="6314725" y="2672589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椭圆 23"/>
            <p:cNvSpPr/>
            <p:nvPr/>
          </p:nvSpPr>
          <p:spPr>
            <a:xfrm>
              <a:off x="6267972" y="2762500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椭圆 24"/>
            <p:cNvSpPr/>
            <p:nvPr/>
          </p:nvSpPr>
          <p:spPr>
            <a:xfrm>
              <a:off x="6228412" y="2845215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椭圆 25"/>
            <p:cNvSpPr/>
            <p:nvPr/>
          </p:nvSpPr>
          <p:spPr>
            <a:xfrm>
              <a:off x="6185255" y="2935124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组合 12"/>
          <p:cNvGrpSpPr/>
          <p:nvPr/>
        </p:nvGrpSpPr>
        <p:grpSpPr>
          <a:xfrm>
            <a:off x="4941311" y="1850957"/>
            <a:ext cx="3574039" cy="2641057"/>
            <a:chOff x="1580804" y="1270000"/>
            <a:chExt cx="5412832" cy="3999844"/>
          </a:xfrm>
        </p:grpSpPr>
        <p:pic>
          <p:nvPicPr>
            <p:cNvPr id="48" name="图片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80804" y="1270000"/>
              <a:ext cx="5412832" cy="3999844"/>
            </a:xfrm>
            <a:prstGeom prst="rect">
              <a:avLst/>
            </a:prstGeom>
          </p:spPr>
        </p:pic>
        <p:cxnSp>
          <p:nvCxnSpPr>
            <p:cNvPr id="49" name="直接箭头连接符 15"/>
            <p:cNvCxnSpPr>
              <a:stCxn id="50" idx="2"/>
              <a:endCxn id="51" idx="6"/>
            </p:cNvCxnSpPr>
            <p:nvPr/>
          </p:nvCxnSpPr>
          <p:spPr>
            <a:xfrm flipH="1" flipV="1">
              <a:off x="3086718" y="3548930"/>
              <a:ext cx="2721877" cy="187531"/>
            </a:xfrm>
            <a:prstGeom prst="straightConnector1">
              <a:avLst/>
            </a:prstGeom>
            <a:ln w="1905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椭圆 16"/>
            <p:cNvSpPr/>
            <p:nvPr/>
          </p:nvSpPr>
          <p:spPr>
            <a:xfrm>
              <a:off x="5808595" y="3660262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椭圆 34"/>
            <p:cNvSpPr/>
            <p:nvPr/>
          </p:nvSpPr>
          <p:spPr>
            <a:xfrm>
              <a:off x="2934318" y="3472731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椭圆 36"/>
            <p:cNvSpPr/>
            <p:nvPr/>
          </p:nvSpPr>
          <p:spPr>
            <a:xfrm>
              <a:off x="6147594" y="3029147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椭圆 37"/>
            <p:cNvSpPr/>
            <p:nvPr/>
          </p:nvSpPr>
          <p:spPr>
            <a:xfrm>
              <a:off x="2476309" y="2542286"/>
              <a:ext cx="152400" cy="1524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4" name="直接箭头连接符 39"/>
            <p:cNvCxnSpPr>
              <a:stCxn id="51" idx="6"/>
              <a:endCxn id="52" idx="2"/>
            </p:cNvCxnSpPr>
            <p:nvPr/>
          </p:nvCxnSpPr>
          <p:spPr>
            <a:xfrm flipV="1">
              <a:off x="3086718" y="3105347"/>
              <a:ext cx="3060876" cy="443584"/>
            </a:xfrm>
            <a:prstGeom prst="straightConnector1">
              <a:avLst/>
            </a:prstGeom>
            <a:ln w="1905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箭头连接符 42"/>
            <p:cNvCxnSpPr>
              <a:stCxn id="52" idx="2"/>
              <a:endCxn id="53" idx="6"/>
            </p:cNvCxnSpPr>
            <p:nvPr/>
          </p:nvCxnSpPr>
          <p:spPr>
            <a:xfrm flipH="1" flipV="1">
              <a:off x="2628709" y="2618486"/>
              <a:ext cx="3518885" cy="486860"/>
            </a:xfrm>
            <a:prstGeom prst="straightConnector1">
              <a:avLst/>
            </a:prstGeom>
            <a:ln w="1905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文本框 29"/>
              <p:cNvSpPr txBox="1"/>
              <p:nvPr/>
            </p:nvSpPr>
            <p:spPr>
              <a:xfrm>
                <a:off x="1737857" y="2529602"/>
                <a:ext cx="1443024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𝜂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过小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ctr"/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导致收敛慢</a:t>
                </a:r>
              </a:p>
            </p:txBody>
          </p:sp>
        </mc:Choice>
        <mc:Fallback xmlns="">
          <p:sp>
            <p:nvSpPr>
              <p:cNvPr id="59" name="文本框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7857" y="2529602"/>
                <a:ext cx="1443024" cy="707886"/>
              </a:xfrm>
              <a:prstGeom prst="rect">
                <a:avLst/>
              </a:prstGeom>
              <a:blipFill rotWithShape="1">
                <a:blip r:embed="rId6"/>
                <a:stretch>
                  <a:fillRect l="-3797" t="-4310" r="-4219" b="-1465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文本框 31"/>
              <p:cNvSpPr txBox="1"/>
              <p:nvPr/>
            </p:nvSpPr>
            <p:spPr>
              <a:xfrm>
                <a:off x="5532604" y="1996708"/>
                <a:ext cx="2729914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𝜂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过大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ctr"/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能导致反而提升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zh-CN" altLang="en-US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1" name="文本框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32604" y="1996708"/>
                <a:ext cx="2729914" cy="707886"/>
              </a:xfrm>
              <a:prstGeom prst="rect">
                <a:avLst/>
              </a:prstGeom>
              <a:blipFill rotWithShape="1">
                <a:blip r:embed="rId7"/>
                <a:stretch>
                  <a:fillRect l="-2013" t="-4310" r="-671" b="-1551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64" name="文本框 46"/>
          <p:cNvSpPr txBox="1"/>
          <p:nvPr/>
        </p:nvSpPr>
        <p:spPr>
          <a:xfrm>
            <a:off x="5756205" y="4584833"/>
            <a:ext cx="206659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能越过最优点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能无法收敛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甚至可能发散</a:t>
            </a:r>
          </a:p>
        </p:txBody>
      </p:sp>
      <p:sp>
        <p:nvSpPr>
          <p:cNvPr id="66" name="文本框 35"/>
          <p:cNvSpPr txBox="1"/>
          <p:nvPr/>
        </p:nvSpPr>
        <p:spPr>
          <a:xfrm>
            <a:off x="829995" y="4584832"/>
            <a:ext cx="3483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初始点可能距离最优点太远，从而导致收敛速度慢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502443" y="1062187"/>
                <a:ext cx="8137922" cy="6785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new</m:t>
                          </m:r>
                        </m:sub>
                      </m:sSub>
                      <m:r>
                        <m:rPr>
                          <m:lit/>
                        </m:rPr>
                        <a:rPr lang="en-US" altLang="zh-CN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</a:rPr>
                        <m:t> =  </m:t>
                      </m:r>
                      <m:sSub>
                        <m:sSub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old</m:t>
                          </m:r>
                        </m:sub>
                      </m:sSub>
                      <m:r>
                        <a:rPr lang="en-US" altLang="zh-CN" sz="2000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</a:rPr>
                        <m:t>𝜂</m:t>
                      </m:r>
                      <m:f>
                        <m:f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𝐽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𝜕𝜃</m:t>
                          </m:r>
                        </m:den>
                      </m:f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062187"/>
                <a:ext cx="8137922" cy="678584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02443" y="5486399"/>
                <a:ext cx="8137922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4400" indent="-284400"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要检查梯度下降是否有效工作，可以打印出每几个迭代得到的损失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, 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发现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并没有正常地下降，调整学习率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𝜂</m:t>
                    </m:r>
                  </m:oMath>
                </a14:m>
                <a:endParaRPr lang="zh-CN" altLang="en-US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5486399"/>
                <a:ext cx="8137922" cy="707886"/>
              </a:xfrm>
              <a:prstGeom prst="rect">
                <a:avLst/>
              </a:prstGeom>
              <a:blipFill rotWithShape="1">
                <a:blip r:embed="rId9"/>
                <a:stretch>
                  <a:fillRect l="-449" t="-4310" b="-1551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线性回归矩阵形式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259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从代数视角来看线性回归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2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4" y="1285289"/>
            <a:ext cx="1979499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训练数据矩阵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502442" y="1730008"/>
                <a:ext cx="9049772" cy="168085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𝑿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eqArrPr>
                          <m:e>
                            <m:sSup>
                              <m:sSupPr>
                                <m:ctrlPr>
                                  <a:rPr lang="en-US" altLang="zh-CN" b="1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(</m:t>
                                </m:r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𝟏</m:t>
                                </m:r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)</m:t>
                                </m:r>
                              </m:sup>
                            </m:sSup>
                          </m:e>
                          <m:e>
                            <m:sSup>
                              <m:sSupPr>
                                <m:ctrlP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sup>
                            </m:sSup>
                          </m:e>
                          <m:e>
                            <m:r>
                              <a:rPr lang="zh-CN" altLang="en-US" i="1" smtClean="0">
                                <a:latin typeface="Cambria Math" panose="02040503050406030204" pitchFamily="18" charset="0"/>
                              </a:rPr>
                              <m:t>⋮</m:t>
                            </m:r>
                          </m:e>
                          <m:e>
                            <m:sSup>
                              <m:sSupPr>
                                <m:ctrlP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  <m:r>
                                  <a:rPr lang="en-US" altLang="zh-CN" b="1" i="1" smtClean="0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sup>
                            </m:sSup>
                          </m:e>
                        </m:eqAr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mP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mPr>
                                <m:mr>
                                  <m:e>
                                    <m:sSubSup>
                                      <m:sSubSupPr>
                                        <m:ctrlP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  <m:sup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1)</m:t>
                                        </m:r>
                                      </m:sup>
                                    </m:sSubSup>
                                  </m:e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1)</m:t>
                                        </m:r>
                                      </m:sup>
                                    </m:sSubSup>
                                  </m:e>
                                </m:mr>
                                <m:mr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</m:t>
                                        </m:r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)</m:t>
                                        </m:r>
                                      </m:sup>
                                    </m:sSubSup>
                                  </m:e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2)</m:t>
                                        </m:r>
                                      </m:sup>
                                    </m:sSubSup>
                                  </m:e>
                                </m:mr>
                              </m:m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⋯</m:t>
                              </m:r>
                            </m:e>
                            <m:e>
                              <m:eqArr>
                                <m:eqArr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eqArrPr>
                                <m:e>
                                  <m:sSubSup>
                                    <m:sSub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𝑑</m:t>
                                      </m:r>
                                    </m:sub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(1)</m:t>
                                      </m:r>
                                    </m:sup>
                                  </m:sSubSup>
                                </m:e>
                                <m:e>
                                  <m:sSubSup>
                                    <m:sSub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𝑑</m:t>
                                      </m:r>
                                    </m:sub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(2)</m:t>
                                      </m:r>
                                    </m:sup>
                                  </m:sSubSup>
                                </m:e>
                              </m:eqArr>
                            </m:e>
                          </m:mr>
                          <m:m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⋮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⋱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⋮</m:t>
                              </m:r>
                            </m:e>
                          </m:m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mPr>
                                <m:mr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</m:t>
                                        </m:r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𝑛</m:t>
                                        </m:r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)</m:t>
                                        </m:r>
                                      </m:sup>
                                    </m:sSubSup>
                                  </m:e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</m:t>
                                        </m:r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𝑛</m:t>
                                        </m:r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)</m:t>
                                        </m:r>
                                      </m:sup>
                                    </m:sSubSup>
                                  </m:e>
                                </m:mr>
                              </m:m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⋯</m:t>
                              </m:r>
                            </m:e>
                            <m:e>
                              <m:sSubSup>
                                <m:sSub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𝑑</m:t>
                                  </m:r>
                                </m:sub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𝑛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bSup>
                            </m:e>
                          </m:mr>
                        </m:m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参数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𝜽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en-US" altLang="zh-CN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eqArr>
                                <m:eqArrPr>
                                  <m:ctrlPr>
                                    <a:rPr lang="en-US" altLang="zh-CN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eqArr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zh-CN" altLang="en-US" i="1" smtClean="0">
                                      <a:latin typeface="Cambria Math" panose="02040503050406030204" pitchFamily="18" charset="0"/>
                                    </a:rPr>
                                    <m:t>⋮</m:t>
                                  </m:r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𝑑</m:t>
                                      </m:r>
                                    </m:sub>
                                  </m:sSub>
                                </m:e>
                              </m:eqArr>
                            </m:e>
                          </m:mr>
                        </m:m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标签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𝒚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eqArr>
                                <m:eqArr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eqArr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⋮</m:t>
                                  </m:r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sub>
                                  </m:sSub>
                                </m:e>
                              </m:eqArr>
                            </m:e>
                          </m:mr>
                        </m:m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</a:p>
            </p:txBody>
          </p:sp>
        </mc:Choice>
        <mc:Fallback xmlns=""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8"/>
                <a:ext cx="9049772" cy="168085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占位符 3"/>
          <p:cNvSpPr txBox="1"/>
          <p:nvPr/>
        </p:nvSpPr>
        <p:spPr>
          <a:xfrm>
            <a:off x="502444" y="3389880"/>
            <a:ext cx="118197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预测</a:t>
            </a:r>
          </a:p>
        </p:txBody>
      </p:sp>
      <p:sp>
        <p:nvSpPr>
          <p:cNvPr id="16" name="文本占位符 3"/>
          <p:cNvSpPr txBox="1"/>
          <p:nvPr/>
        </p:nvSpPr>
        <p:spPr>
          <a:xfrm>
            <a:off x="502444" y="5525466"/>
            <a:ext cx="1554956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内容占位符 2"/>
              <p:cNvSpPr txBox="1">
                <a:spLocks/>
              </p:cNvSpPr>
              <p:nvPr/>
            </p:nvSpPr>
            <p:spPr>
              <a:xfrm>
                <a:off x="502442" y="6051623"/>
                <a:ext cx="6365497" cy="43590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85000"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num>
                      <m:den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𝒚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acc>
                              <m:accPr>
                                <m:chr m:val="̂"/>
                                <m:ctrlPr>
                                  <a:rPr lang="en-US" altLang="zh-CN" b="1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acc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𝒚</m:t>
                                </m:r>
                              </m:e>
                            </m:acc>
                          </m:e>
                        </m:d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𝒚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acc>
                      <m:accPr>
                        <m:chr m:val="̂"/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𝒚</m:t>
                        </m:r>
                      </m:e>
                    </m:acc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=</m:t>
                    </m:r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num>
                      <m:den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𝒚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b="1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𝑿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</m:d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𝒚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7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6051623"/>
                <a:ext cx="6365497" cy="435903"/>
              </a:xfrm>
              <a:prstGeom prst="rect">
                <a:avLst/>
              </a:prstGeom>
              <a:blipFill>
                <a:blip r:embed="rId5"/>
                <a:stretch>
                  <a:fillRect l="-96" b="-140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内容占位符 2"/>
              <p:cNvSpPr txBox="1">
                <a:spLocks/>
              </p:cNvSpPr>
              <p:nvPr/>
            </p:nvSpPr>
            <p:spPr>
              <a:xfrm>
                <a:off x="502442" y="3897173"/>
                <a:ext cx="9049772" cy="157605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𝒚</m:t>
                        </m:r>
                      </m:e>
                    </m:acc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𝑿</m:t>
                    </m:r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𝜽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eqArrPr>
                          <m:e>
                            <m:sSup>
                              <m:sSupPr>
                                <m:ctrlPr>
                                  <a:rPr lang="en-US" altLang="zh-CN" b="1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(</m:t>
                                </m:r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𝟏</m:t>
                                </m:r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)</m:t>
                                </m:r>
                              </m:sup>
                            </m:sSup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  <m:e>
                            <m:sSup>
                              <m:sSupPr>
                                <m:ctrlP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sup>
                            </m:sSup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  <m:e>
                            <m:r>
                              <a:rPr lang="zh-CN" altLang="en-US" b="1" i="1">
                                <a:latin typeface="Cambria Math" panose="02040503050406030204" pitchFamily="18" charset="0"/>
                              </a:rPr>
                              <m:t>⋮</m:t>
                            </m:r>
                          </m:e>
                          <m:e>
                            <m:sSup>
                              <m:sSupPr>
                                <m:ctrlP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sup>
                            </m:sSup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</m:eqArr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</a:p>
            </p:txBody>
          </p:sp>
        </mc:Choice>
        <mc:Fallback xmlns="">
          <p:sp>
            <p:nvSpPr>
              <p:cNvPr id="20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897173"/>
                <a:ext cx="9049772" cy="157605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回归的矩阵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3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5" y="1285289"/>
            <a:ext cx="1554956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502442" y="1839338"/>
                <a:ext cx="9049772" cy="56179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altLang="zh-CN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num>
                      <m:den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𝒚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𝑿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</m:d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𝒚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b="1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lim>
                        </m:limLow>
                      </m:fName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e>
                    </m:func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839338"/>
                <a:ext cx="9049772" cy="561798"/>
              </a:xfrm>
              <a:prstGeom prst="rect">
                <a:avLst/>
              </a:prstGeom>
              <a:blipFill>
                <a:blip r:embed="rId4"/>
                <a:stretch>
                  <a:fillRect l="-2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占位符 3"/>
          <p:cNvSpPr txBox="1"/>
          <p:nvPr/>
        </p:nvSpPr>
        <p:spPr>
          <a:xfrm>
            <a:off x="502444" y="2546158"/>
            <a:ext cx="2538930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对参数向量的梯度</a:t>
            </a:r>
          </a:p>
        </p:txBody>
      </p:sp>
      <p:sp>
        <p:nvSpPr>
          <p:cNvPr id="16" name="文本占位符 3"/>
          <p:cNvSpPr txBox="1"/>
          <p:nvPr/>
        </p:nvSpPr>
        <p:spPr>
          <a:xfrm>
            <a:off x="502443" y="3983063"/>
            <a:ext cx="216124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最优参数求解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内容占位符 2"/>
              <p:cNvSpPr txBox="1">
                <a:spLocks/>
              </p:cNvSpPr>
              <p:nvPr/>
            </p:nvSpPr>
            <p:spPr>
              <a:xfrm>
                <a:off x="502442" y="3109063"/>
                <a:ext cx="9049772" cy="76687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d>
                        </m:num>
                        <m:den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109063"/>
                <a:ext cx="9049772" cy="76687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/>
              <p:cNvSpPr txBox="1">
                <a:spLocks/>
              </p:cNvSpPr>
              <p:nvPr/>
            </p:nvSpPr>
            <p:spPr>
              <a:xfrm>
                <a:off x="502442" y="4674762"/>
                <a:ext cx="9049772" cy="146762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zh-CN" alt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d>
                        </m:num>
                        <m:den>
                          <m:r>
                            <a:rPr lang="zh-CN" alt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0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→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0</m:t>
                      </m:r>
                    </m:oMath>
                  </m:oMathPara>
                </a14:m>
                <a:endParaRPr lang="en-US" altLang="zh-CN" b="0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 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→</m:t>
                    </m:r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𝒚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</m:e>
                      <m:sup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𝑿</m:t>
                    </m:r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𝜽</m:t>
                    </m:r>
                  </m:oMath>
                </a14:m>
                <a:endParaRPr lang="en-US" altLang="zh-CN" b="1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→</m:t>
                    </m:r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acc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𝑿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⊤</m:t>
                            </m:r>
                          </m:sup>
                        </m:sSup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1</m:t>
                        </m:r>
                      </m:sup>
                    </m:sSup>
                    <m:sSup>
                      <m:sSup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𝒚</m:t>
                    </m:r>
                  </m:oMath>
                </a14:m>
                <a:endParaRPr lang="en-US" altLang="zh-CN" b="1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674762"/>
                <a:ext cx="9049772" cy="1467621"/>
              </a:xfrm>
              <a:prstGeom prst="rect">
                <a:avLst/>
              </a:prstGeom>
              <a:blipFill>
                <a:blip r:embed="rId6"/>
                <a:stretch>
                  <a:fillRect b="-249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回归的矩阵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4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5" y="1285289"/>
            <a:ext cx="1554956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预测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498421" y="1815617"/>
                <a:ext cx="4073579" cy="127635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acc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</m:e>
                      </m:acc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𝑿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𝑿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1</m:t>
                          </m:r>
                        </m:sup>
                      </m:sSup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𝒚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𝑯𝒚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𝑯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帽子矩阵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8421" y="1815617"/>
                <a:ext cx="4073579" cy="1276351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14" name="文本占位符 3"/>
          <p:cNvSpPr txBox="1"/>
          <p:nvPr/>
        </p:nvSpPr>
        <p:spPr>
          <a:xfrm>
            <a:off x="513559" y="3116227"/>
            <a:ext cx="155495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几何解释</a:t>
            </a:r>
          </a:p>
        </p:txBody>
      </p:sp>
      <p:grpSp>
        <p:nvGrpSpPr>
          <p:cNvPr id="92" name="组合 91"/>
          <p:cNvGrpSpPr/>
          <p:nvPr/>
        </p:nvGrpSpPr>
        <p:grpSpPr>
          <a:xfrm>
            <a:off x="4363649" y="1211154"/>
            <a:ext cx="3459551" cy="2465526"/>
            <a:chOff x="4897049" y="3077543"/>
            <a:chExt cx="3840142" cy="2856752"/>
          </a:xfrm>
        </p:grpSpPr>
        <p:grpSp>
          <p:nvGrpSpPr>
            <p:cNvPr id="87" name="组合 86"/>
            <p:cNvGrpSpPr/>
            <p:nvPr/>
          </p:nvGrpSpPr>
          <p:grpSpPr>
            <a:xfrm>
              <a:off x="4897049" y="3077543"/>
              <a:ext cx="3840142" cy="2753676"/>
              <a:chOff x="4897049" y="3077543"/>
              <a:chExt cx="3840142" cy="2753676"/>
            </a:xfrm>
          </p:grpSpPr>
          <p:grpSp>
            <p:nvGrpSpPr>
              <p:cNvPr id="82" name="组合 81"/>
              <p:cNvGrpSpPr/>
              <p:nvPr/>
            </p:nvGrpSpPr>
            <p:grpSpPr>
              <a:xfrm>
                <a:off x="4897049" y="3209763"/>
                <a:ext cx="3657601" cy="2418406"/>
                <a:chOff x="4982764" y="2869212"/>
                <a:chExt cx="3657601" cy="2418406"/>
              </a:xfrm>
            </p:grpSpPr>
            <p:sp>
              <p:nvSpPr>
                <p:cNvPr id="34" name="等腰三角形 33"/>
                <p:cNvSpPr/>
                <p:nvPr/>
              </p:nvSpPr>
              <p:spPr>
                <a:xfrm>
                  <a:off x="4982764" y="4078393"/>
                  <a:ext cx="3657599" cy="1209204"/>
                </a:xfrm>
                <a:prstGeom prst="triangle">
                  <a:avLst>
                    <a:gd name="adj" fmla="val 79474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cxnSp>
              <p:nvCxnSpPr>
                <p:cNvPr id="7" name="直接箭头连接符 6"/>
                <p:cNvCxnSpPr/>
                <p:nvPr/>
              </p:nvCxnSpPr>
              <p:spPr>
                <a:xfrm flipV="1">
                  <a:off x="4982765" y="2869212"/>
                  <a:ext cx="1532866" cy="2418405"/>
                </a:xfrm>
                <a:prstGeom prst="straightConnector1">
                  <a:avLst/>
                </a:prstGeom>
                <a:ln w="15240"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箭头连接符 22"/>
                <p:cNvCxnSpPr/>
                <p:nvPr/>
              </p:nvCxnSpPr>
              <p:spPr>
                <a:xfrm flipV="1">
                  <a:off x="4982765" y="4078412"/>
                  <a:ext cx="2914037" cy="1209206"/>
                </a:xfrm>
                <a:prstGeom prst="straightConnector1">
                  <a:avLst/>
                </a:prstGeom>
                <a:ln w="15240"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" name="直接箭头连接符 4"/>
                <p:cNvCxnSpPr/>
                <p:nvPr/>
              </p:nvCxnSpPr>
              <p:spPr>
                <a:xfrm>
                  <a:off x="4982765" y="5287617"/>
                  <a:ext cx="3657600" cy="0"/>
                </a:xfrm>
                <a:prstGeom prst="straightConnector1">
                  <a:avLst/>
                </a:prstGeom>
                <a:ln w="1524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/>
                <p:nvPr/>
              </p:nvCxnSpPr>
              <p:spPr>
                <a:xfrm>
                  <a:off x="6515631" y="2869212"/>
                  <a:ext cx="0" cy="2075322"/>
                </a:xfrm>
                <a:prstGeom prst="line">
                  <a:avLst/>
                </a:prstGeom>
                <a:ln w="15240">
                  <a:prstDash val="dash"/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endCxn id="34" idx="2"/>
                </p:cNvCxnSpPr>
                <p:nvPr/>
              </p:nvCxnSpPr>
              <p:spPr>
                <a:xfrm flipH="1">
                  <a:off x="4982764" y="4944534"/>
                  <a:ext cx="1532865" cy="343063"/>
                </a:xfrm>
                <a:prstGeom prst="line">
                  <a:avLst/>
                </a:prstGeom>
                <a:ln w="15240">
                  <a:prstDash val="dash"/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直接连接符 66"/>
                <p:cNvCxnSpPr/>
                <p:nvPr/>
              </p:nvCxnSpPr>
              <p:spPr>
                <a:xfrm flipV="1">
                  <a:off x="6370320" y="4802149"/>
                  <a:ext cx="145309" cy="35960"/>
                </a:xfrm>
                <a:prstGeom prst="line">
                  <a:avLst/>
                </a:prstGeom>
                <a:ln w="1397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直接连接符 76"/>
                <p:cNvCxnSpPr/>
                <p:nvPr/>
              </p:nvCxnSpPr>
              <p:spPr>
                <a:xfrm>
                  <a:off x="6375400" y="4834421"/>
                  <a:ext cx="0" cy="134324"/>
                </a:xfrm>
                <a:prstGeom prst="line">
                  <a:avLst/>
                </a:prstGeom>
                <a:ln w="1397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3" name="文本框 82"/>
                  <p:cNvSpPr txBox="1"/>
                  <p:nvPr/>
                </p:nvSpPr>
                <p:spPr>
                  <a:xfrm>
                    <a:off x="6158207" y="3077543"/>
                    <a:ext cx="181140" cy="246221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sz="1600" b="1" i="1">
                              <a:latin typeface="Cambria Math" panose="02040503050406030204" pitchFamily="18" charset="0"/>
                            </a:rPr>
                            <m:t>𝒚</m:t>
                          </m:r>
                        </m:oMath>
                      </m:oMathPara>
                    </a14:m>
                    <a:endParaRPr lang="zh-CN" altLang="en-US" sz="1600" b="1" dirty="0"/>
                  </a:p>
                </p:txBody>
              </p:sp>
            </mc:Choice>
            <mc:Fallback xmlns="">
              <p:sp>
                <p:nvSpPr>
                  <p:cNvPr id="83" name="文本框 8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158207" y="3077543"/>
                    <a:ext cx="181140" cy="246221"/>
                  </a:xfrm>
                  <a:prstGeom prst="rect">
                    <a:avLst/>
                  </a:prstGeom>
                  <a:blipFill rotWithShape="1">
                    <a:blip r:embed="rId5"/>
                    <a:stretch>
                      <a:fillRect l="-33333" r="-29630" b="-45714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4" name="文本框 83"/>
                  <p:cNvSpPr txBox="1"/>
                  <p:nvPr/>
                </p:nvSpPr>
                <p:spPr>
                  <a:xfrm>
                    <a:off x="6328317" y="5307929"/>
                    <a:ext cx="181139" cy="246221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zh-CN" altLang="en-US" sz="1600" b="1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</m:e>
                          </m:acc>
                        </m:oMath>
                      </m:oMathPara>
                    </a14:m>
                    <a:endParaRPr lang="zh-CN" altLang="en-US" sz="1600" b="1" dirty="0"/>
                  </a:p>
                </p:txBody>
              </p:sp>
            </mc:Choice>
            <mc:Fallback xmlns="">
              <p:sp>
                <p:nvSpPr>
                  <p:cNvPr id="84" name="文本框 8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328317" y="5307929"/>
                    <a:ext cx="181139" cy="246221"/>
                  </a:xfrm>
                  <a:prstGeom prst="rect">
                    <a:avLst/>
                  </a:prstGeom>
                  <a:blipFill rotWithShape="1">
                    <a:blip r:embed="rId6"/>
                    <a:stretch>
                      <a:fillRect l="-33333" t="-17143" r="-62963" b="-45714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5" name="文本框 84"/>
                  <p:cNvSpPr txBox="1"/>
                  <p:nvPr/>
                </p:nvSpPr>
                <p:spPr>
                  <a:xfrm>
                    <a:off x="7848087" y="4261808"/>
                    <a:ext cx="259815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sub>
                          </m:sSub>
                        </m:oMath>
                      </m:oMathPara>
                    </a14:m>
                    <a:endParaRPr lang="zh-CN" altLang="en-US" sz="1600" b="1" dirty="0"/>
                  </a:p>
                </p:txBody>
              </p:sp>
            </mc:Choice>
            <mc:Fallback xmlns="">
              <p:sp>
                <p:nvSpPr>
                  <p:cNvPr id="85" name="文本框 8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848087" y="4261808"/>
                    <a:ext cx="259815" cy="246221"/>
                  </a:xfrm>
                  <a:prstGeom prst="rect">
                    <a:avLst/>
                  </a:prstGeom>
                  <a:blipFill rotWithShape="1">
                    <a:blip r:embed="rId7"/>
                    <a:stretch>
                      <a:fillRect l="-18421" r="-13158" b="-37143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6" name="文本框 85"/>
                  <p:cNvSpPr txBox="1"/>
                  <p:nvPr/>
                </p:nvSpPr>
                <p:spPr>
                  <a:xfrm>
                    <a:off x="8462564" y="5584998"/>
                    <a:ext cx="274627" cy="246221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</m:oMath>
                      </m:oMathPara>
                    </a14:m>
                    <a:endParaRPr lang="zh-CN" altLang="en-US" sz="1600" b="1" dirty="0"/>
                  </a:p>
                </p:txBody>
              </p:sp>
            </mc:Choice>
            <mc:Fallback xmlns="">
              <p:sp>
                <p:nvSpPr>
                  <p:cNvPr id="86" name="文本框 85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462564" y="5584998"/>
                    <a:ext cx="274627" cy="246221"/>
                  </a:xfrm>
                  <a:prstGeom prst="rect">
                    <a:avLst/>
                  </a:prstGeom>
                  <a:blipFill rotWithShape="1">
                    <a:blip r:embed="rId8"/>
                    <a:stretch>
                      <a:fillRect l="-15000" r="-10000" b="-34286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</p:grpSp>
        <p:sp>
          <p:nvSpPr>
            <p:cNvPr id="88" name="右大括号 87"/>
            <p:cNvSpPr/>
            <p:nvPr/>
          </p:nvSpPr>
          <p:spPr>
            <a:xfrm>
              <a:off x="6457950" y="3248884"/>
              <a:ext cx="129116" cy="2025849"/>
            </a:xfrm>
            <a:prstGeom prst="rightBrace">
              <a:avLst/>
            </a:prstGeom>
            <a:ln w="1524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9" name="文本框 88"/>
                <p:cNvSpPr txBox="1"/>
                <p:nvPr/>
              </p:nvSpPr>
              <p:spPr>
                <a:xfrm>
                  <a:off x="6654526" y="4135717"/>
                  <a:ext cx="1253020" cy="28529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altLang="zh-CN" sz="160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||</m:t>
                            </m:r>
                            <m:r>
                              <a:rPr lang="en-US" altLang="zh-CN" sz="1600" b="1" i="1">
                                <a:latin typeface="Cambria Math" panose="02040503050406030204" pitchFamily="18" charset="0"/>
                              </a:rPr>
                              <m:t>𝒚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altLang="zh-CN" sz="1600" b="1" i="1">
                                <a:latin typeface="Cambria Math" panose="02040503050406030204" pitchFamily="18" charset="0"/>
                              </a:rPr>
                              <m:t>𝑿</m:t>
                            </m:r>
                            <m:r>
                              <a:rPr lang="en-US" altLang="zh-CN" sz="1600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||</m:t>
                            </m:r>
                            <m:r>
                              <m:rPr>
                                <m:nor/>
                              </m:rPr>
                              <a:rPr lang="zh-CN" altLang="en-US" sz="1600" dirty="0"/>
                              <m:t> </m:t>
                            </m:r>
                          </m:e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89" name="文本框 8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654526" y="4135717"/>
                  <a:ext cx="1253020" cy="285291"/>
                </a:xfrm>
                <a:prstGeom prst="rect">
                  <a:avLst/>
                </a:prstGeom>
                <a:blipFill>
                  <a:blip r:embed="rId9"/>
                  <a:stretch>
                    <a:fillRect l="-4865" b="-34146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0" name="矩形 89"/>
            <p:cNvSpPr/>
            <p:nvPr/>
          </p:nvSpPr>
          <p:spPr>
            <a:xfrm>
              <a:off x="7243186" y="4561192"/>
              <a:ext cx="93968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第二列</a:t>
              </a:r>
            </a:p>
          </p:txBody>
        </p:sp>
        <p:sp>
          <p:nvSpPr>
            <p:cNvPr id="91" name="矩形 90"/>
            <p:cNvSpPr/>
            <p:nvPr/>
          </p:nvSpPr>
          <p:spPr>
            <a:xfrm>
              <a:off x="7614967" y="5595741"/>
              <a:ext cx="93968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第一列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3" name="内容占位符 2"/>
              <p:cNvSpPr txBox="1">
                <a:spLocks/>
              </p:cNvSpPr>
              <p:nvPr/>
            </p:nvSpPr>
            <p:spPr>
              <a:xfrm>
                <a:off x="502442" y="3676679"/>
                <a:ext cx="6207341" cy="22576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数据矩阵的列向量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1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𝒙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𝒙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…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𝒙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𝑑</m:t>
                            </m:r>
                          </m:sub>
                        </m:sSub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张成一个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  <m:t>ℝ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𝑛</m:t>
                        </m:r>
                      </m:sup>
                    </m:sSup>
                  </m:oMath>
                </a14:m>
                <a:b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</a:b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上的子空间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</a:t>
                </a:r>
              </a:p>
              <a:p>
                <a14:m>
                  <m:oMath xmlns:m="http://schemas.openxmlformats.org/officeDocument/2006/math"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𝑯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就是将标签向量</a:t>
                </a:r>
                <a14:m>
                  <m:oMath xmlns:m="http://schemas.openxmlformats.org/officeDocument/2006/math"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𝒚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投影到该子空间的映射</a:t>
                </a: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676679"/>
                <a:ext cx="6207341" cy="2257638"/>
              </a:xfrm>
              <a:prstGeom prst="rect">
                <a:avLst/>
              </a:prstGeom>
              <a:blipFill rotWithShape="1">
                <a:blip r:embed="rId10"/>
                <a:stretch>
                  <a:fillRect l="-589" t="-108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4" name="内容占位符 2"/>
              <p:cNvSpPr txBox="1">
                <a:spLocks/>
              </p:cNvSpPr>
              <p:nvPr/>
            </p:nvSpPr>
            <p:spPr>
              <a:xfrm>
                <a:off x="502442" y="4883264"/>
                <a:ext cx="9049772" cy="168085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𝑿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mP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mPr>
                                <m:mr>
                                  <m:e>
                                    <m:sSubSup>
                                      <m:sSubSupPr>
                                        <m:ctrlP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  <m:sup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1)</m:t>
                                        </m:r>
                                      </m:sup>
                                    </m:sSubSup>
                                  </m:e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1)</m:t>
                                        </m:r>
                                      </m:sup>
                                    </m:sSubSup>
                                  </m:e>
                                </m:mr>
                                <m:mr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</m:t>
                                        </m:r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)</m:t>
                                        </m:r>
                                      </m:sup>
                                    </m:sSubSup>
                                  </m:e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2)</m:t>
                                        </m:r>
                                      </m:sup>
                                    </m:sSubSup>
                                  </m:e>
                                </m:mr>
                              </m:m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⋯</m:t>
                              </m:r>
                            </m:e>
                            <m:e>
                              <m:eqArr>
                                <m:eqArr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eqArrPr>
                                <m:e>
                                  <m:sSubSup>
                                    <m:sSub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𝑑</m:t>
                                      </m:r>
                                    </m:sub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(1)</m:t>
                                      </m:r>
                                    </m:sup>
                                  </m:sSubSup>
                                </m:e>
                                <m:e>
                                  <m:sSubSup>
                                    <m:sSub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𝑑</m:t>
                                      </m:r>
                                    </m:sub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(1)</m:t>
                                      </m:r>
                                    </m:sup>
                                  </m:sSubSup>
                                </m:e>
                              </m:eqArr>
                            </m:e>
                          </m:mr>
                          <m:m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⋮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⋱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⋮</m:t>
                              </m:r>
                            </m:e>
                          </m:m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mPr>
                                <m:mr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</m:t>
                                        </m:r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𝑛</m:t>
                                        </m:r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)</m:t>
                                        </m:r>
                                      </m:sup>
                                    </m:sSubSup>
                                  </m:e>
                                  <m:e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(</m:t>
                                        </m:r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𝑛</m:t>
                                        </m:r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)</m:t>
                                        </m:r>
                                      </m:sup>
                                    </m:sSubSup>
                                  </m:e>
                                </m:mr>
                              </m:m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⋯</m:t>
                              </m:r>
                            </m:e>
                            <m:e>
                              <m:sSubSup>
                                <m:sSub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𝑑</m:t>
                                  </m:r>
                                </m:sub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𝑛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bSup>
                            </m:e>
                          </m:mr>
                        </m:m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𝒙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𝒙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…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𝒙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𝑑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𝒚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eqArr>
                                <m:eqArr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eqArr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⋮</m:t>
                                  </m:r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sub>
                                  </m:sSub>
                                </m:e>
                              </m:eqArr>
                            </m:e>
                          </m:mr>
                        </m:m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</a:p>
            </p:txBody>
          </p:sp>
        </mc:Choice>
        <mc:Fallback xmlns="">
          <p:sp>
            <p:nvSpPr>
              <p:cNvPr id="94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883264"/>
                <a:ext cx="9049772" cy="1680857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标题 1"/>
              <p:cNvSpPr>
                <a:spLocks noGrp="1"/>
              </p:cNvSpPr>
              <p:nvPr>
                <p:ph type="title"/>
              </p:nvPr>
            </p:nvSpPr>
            <p:spPr>
              <a:xfrm>
                <a:off x="681738" y="1"/>
                <a:ext cx="8137922" cy="1028699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1" i="1" smtClean="0">
                            <a:latin typeface="Cambria Math" panose="02040503050406030204" pitchFamily="18" charset="0"/>
                            <a:ea typeface="阿里巴巴普惠体 B" panose="00020600040101010101" pitchFamily="18" charset="-122"/>
                            <a:cs typeface="阿里巴巴普惠体 B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B" panose="00020600040101010101" pitchFamily="18" charset="-122"/>
                            <a:cs typeface="阿里巴巴普惠体 B" panose="00020600040101010101" pitchFamily="18" charset="-122"/>
                          </a:rPr>
                          <m:t>𝑿</m:t>
                        </m:r>
                      </m:e>
                      <m:sup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B" panose="00020600040101010101" pitchFamily="18" charset="-122"/>
                            <a:cs typeface="阿里巴巴普惠体 B" panose="00020600040101010101" pitchFamily="18" charset="-122"/>
                          </a:rPr>
                          <m:t>𝑻</m:t>
                        </m:r>
                      </m:sup>
                    </m:sSup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B" panose="00020600040101010101" pitchFamily="18" charset="-122"/>
                        <a:cs typeface="阿里巴巴普惠体 B" panose="00020600040101010101" pitchFamily="18" charset="-122"/>
                      </a:rPr>
                      <m:t>𝑿</m:t>
                    </m:r>
                  </m:oMath>
                </a14:m>
                <a:r>
                  <a:rPr lang="zh-CN" altLang="en-US" dirty="0">
                    <a:latin typeface="阿里巴巴普惠体 B" panose="00020600040101010101" pitchFamily="18" charset="-122"/>
                    <a:ea typeface="阿里巴巴普惠体 B" panose="00020600040101010101" pitchFamily="18" charset="-122"/>
                    <a:cs typeface="阿里巴巴普惠体 B" panose="00020600040101010101" pitchFamily="18" charset="-122"/>
                  </a:rPr>
                  <a:t>为奇异矩阵的情况</a:t>
                </a:r>
              </a:p>
            </p:txBody>
          </p:sp>
        </mc:Choice>
        <mc:Fallback xmlns="">
          <p:sp>
            <p:nvSpPr>
              <p:cNvPr id="2" name="标题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681738" y="1"/>
                <a:ext cx="8137922" cy="1028699"/>
              </a:xfrm>
              <a:blipFill rotWithShape="1">
                <a:blip r:embed="rId4"/>
                <a:stretch>
                  <a:fillRect b="-1716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502442" y="1420753"/>
                <a:ext cx="7675381" cy="149177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数据矩阵的一些列向量线性相关时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𝒙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3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𝒙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𝑿</m:t>
                    </m:r>
                    <m:r>
                      <a:rPr lang="zh-CN" altLang="en-US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为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奇异矩阵，所以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acc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𝑿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⊤</m:t>
                            </m:r>
                          </m:sup>
                        </m:sSup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1</m:t>
                        </m:r>
                      </m:sup>
                    </m:sSup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𝒚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无法被直接计算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420753"/>
                <a:ext cx="7675381" cy="1491779"/>
              </a:xfrm>
              <a:prstGeom prst="rect">
                <a:avLst/>
              </a:prstGeom>
              <a:blipFill>
                <a:blip r:embed="rId5"/>
                <a:stretch>
                  <a:fillRect l="-476" t="-20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占位符 3"/>
          <p:cNvSpPr txBox="1"/>
          <p:nvPr/>
        </p:nvSpPr>
        <p:spPr>
          <a:xfrm>
            <a:off x="598225" y="3170891"/>
            <a:ext cx="155495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解决方案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3" name="内容占位符 2"/>
              <p:cNvSpPr txBox="1">
                <a:spLocks/>
              </p:cNvSpPr>
              <p:nvPr/>
            </p:nvSpPr>
            <p:spPr>
              <a:xfrm>
                <a:off x="513559" y="4046465"/>
                <a:ext cx="6207341" cy="95846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正则化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gularizatio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b="1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zh-CN" altLang="en-US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𝝁</m:t>
                        </m: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num>
                      <m:den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𝒚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𝑿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</m:d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𝒚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f>
                      <m:fPr>
                        <m:ctrlP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zh-CN" altLang="en-US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𝝀</m:t>
                        </m:r>
                      </m:num>
                      <m:den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𝟐</m:t>
                        </m:r>
                      </m:den>
                    </m:f>
                    <m:sSubSup>
                      <m:sSubSupPr>
                        <m:ctrlP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||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||</m:t>
                        </m:r>
                      </m:e>
                      <m:sub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𝟐</m:t>
                        </m:r>
                      </m:sub>
                      <m:sup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𝟐</m:t>
                        </m:r>
                      </m:sup>
                    </m:sSubSup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559" y="4046465"/>
                <a:ext cx="6207341" cy="958461"/>
              </a:xfrm>
              <a:prstGeom prst="rect">
                <a:avLst/>
              </a:prstGeom>
              <a:blipFill>
                <a:blip r:embed="rId6"/>
                <a:stretch>
                  <a:fillRect l="-589" t="-700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带正则项的线性回归矩阵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6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5" y="1285289"/>
            <a:ext cx="1554956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优化目标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1125897" y="1839338"/>
                <a:ext cx="6877792" cy="56179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altLang="zh-CN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num>
                      <m:den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𝒚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𝑿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</m:d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𝒚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f>
                      <m:fPr>
                        <m:ctrlP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zh-CN" altLang="en-US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𝝀</m:t>
                        </m:r>
                      </m:num>
                      <m:den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𝟐</m:t>
                        </m:r>
                      </m:den>
                    </m:f>
                    <m:sSubSup>
                      <m:sSubSupPr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||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||</m:t>
                        </m:r>
                      </m:e>
                      <m:sub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𝟐</m:t>
                        </m:r>
                      </m:sub>
                      <m:sup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𝟐</m:t>
                        </m:r>
                      </m:sup>
                    </m:sSubSup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b="1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lim>
                        </m:limLow>
                      </m:fName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e>
                    </m:func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5897" y="1839338"/>
                <a:ext cx="6877792" cy="561798"/>
              </a:xfrm>
              <a:prstGeom prst="rect">
                <a:avLst/>
              </a:prstGeom>
              <a:blipFill>
                <a:blip r:embed="rId2"/>
                <a:stretch>
                  <a:fillRect l="-36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占位符 3"/>
          <p:cNvSpPr txBox="1"/>
          <p:nvPr/>
        </p:nvSpPr>
        <p:spPr>
          <a:xfrm>
            <a:off x="502444" y="2546158"/>
            <a:ext cx="2538930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对参数向量的梯度</a:t>
            </a:r>
          </a:p>
        </p:txBody>
      </p:sp>
      <p:sp>
        <p:nvSpPr>
          <p:cNvPr id="16" name="文本占位符 3"/>
          <p:cNvSpPr txBox="1"/>
          <p:nvPr/>
        </p:nvSpPr>
        <p:spPr>
          <a:xfrm>
            <a:off x="502443" y="3983063"/>
            <a:ext cx="216124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最优参数求解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内容占位符 2"/>
              <p:cNvSpPr txBox="1">
                <a:spLocks/>
              </p:cNvSpPr>
              <p:nvPr/>
            </p:nvSpPr>
            <p:spPr>
              <a:xfrm>
                <a:off x="1125897" y="3109063"/>
                <a:ext cx="6877792" cy="76687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d>
                        </m:num>
                        <m:den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zh-CN" altLang="en-US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𝜆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𝜽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5897" y="3109063"/>
                <a:ext cx="6877792" cy="7668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/>
              <p:cNvSpPr txBox="1">
                <a:spLocks/>
              </p:cNvSpPr>
              <p:nvPr/>
            </p:nvSpPr>
            <p:spPr>
              <a:xfrm>
                <a:off x="1125898" y="4674762"/>
                <a:ext cx="6093728" cy="146762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zh-CN" alt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d>
                        </m:num>
                        <m:den>
                          <m:r>
                            <a:rPr lang="zh-CN" alt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0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→−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zh-CN" altLang="en-US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𝜆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𝜽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0</m:t>
                      </m:r>
                    </m:oMath>
                  </m:oMathPara>
                </a14:m>
                <a:endParaRPr lang="en-US" altLang="zh-CN" b="0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 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→</m:t>
                    </m:r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𝒚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</m:e>
                      <m:sup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𝑿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𝜆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𝑰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𝜽</m:t>
                    </m:r>
                  </m:oMath>
                </a14:m>
                <a:endParaRPr lang="en-US" altLang="zh-CN" b="1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 </a:t>
                </a:r>
                <a:r>
                  <a:rPr lang="zh-CN" altLang="en-US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→</m:t>
                    </m:r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acc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𝑿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⊤</m:t>
                            </m:r>
                          </m:sup>
                        </m:sSup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𝜆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𝑰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1</m:t>
                        </m:r>
                      </m:sup>
                    </m:sSup>
                    <m:sSup>
                      <m:sSup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r>
                      <a:rPr lang="en-US" altLang="zh-CN" b="1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𝒚</m:t>
                    </m:r>
                  </m:oMath>
                </a14:m>
                <a:endParaRPr lang="en-US" altLang="zh-CN" b="1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5898" y="4674762"/>
                <a:ext cx="6093728" cy="1467621"/>
              </a:xfrm>
              <a:prstGeom prst="rect">
                <a:avLst/>
              </a:prstGeom>
              <a:blipFill>
                <a:blip r:embed="rId4"/>
                <a:stretch>
                  <a:fillRect b="-258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泛线性模型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316625" y="4489379"/>
            <a:ext cx="4552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28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回顾：线性回归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5815230" cy="206381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1210111"/>
                <a:ext cx="8317218" cy="543083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endParaRPr lang="en-US" altLang="zh-CN" b="1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𝑿</m:t>
                    </m:r>
                    <m:r>
                      <a:rPr lang="en-US" altLang="zh-CN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zh-CN" altLang="zh-CN" i="1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p>
                              <m:sSup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zh-CN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e>
                                </m:d>
                              </m:sup>
                            </m:sSup>
                          </m:e>
                          <m:e>
                            <m:sSup>
                              <m:sSup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zh-CN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e>
                                </m:d>
                              </m:sup>
                            </m:sSup>
                          </m:e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⋮</m:t>
                            </m:r>
                          </m:e>
                          <m:e>
                            <m:sSup>
                              <m:sSup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zh-CN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</m:d>
                              </m:sup>
                            </m:sSup>
                          </m:e>
                        </m:eqAr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plcHide m:val="on"/>
                            <m:mcs>
                              <m:mc>
                                <m:mcPr>
                                  <m:count m:val="5"/>
                                  <m:mcJc m:val="center"/>
                                </m:mcPr>
                              </m:mc>
                            </m:mcs>
                            <m:ctrlPr>
                              <a:rPr lang="zh-CN" altLang="zh-CN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…</m:t>
                              </m:r>
                            </m:e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mr>
                          <m:mr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…</m:t>
                              </m:r>
                            </m:e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mr>
                          <m:m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⋮</m:t>
                              </m:r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⋮</m:t>
                              </m:r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⋮</m:t>
                              </m:r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⋱</m:t>
                              </m:r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⋮</m:t>
                              </m:r>
                            </m:e>
                          </m:mr>
                          <m:mr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…</m:t>
                              </m:r>
                            </m:e>
                            <m:e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mr>
                        </m:m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参数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𝜽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b>
                              <m:sSubPr>
                                <m:ctrlPr>
                                  <a:rPr lang="en-US" altLang="zh-CN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dirty="0" smtClean="0">
                                    <a:latin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  <m:sub>
                                <m:r>
                                  <a:rPr lang="en-US" altLang="zh-CN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  <m: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⋮</m:t>
                            </m:r>
                          </m:e>
                          <m: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sub>
                            </m:sSub>
                          </m:e>
                        </m:eqArr>
                      </m:e>
                    </m:d>
                  </m:oMath>
                </a14:m>
                <a:r>
                  <a:rPr lang="en-US" altLang="zh-CN" dirty="0"/>
                  <a:t>   </a:t>
                </a:r>
                <a:r>
                  <a:rPr lang="zh-CN" altLang="en-US" dirty="0"/>
                  <a:t>标签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altLang="zh-CN" i="1" dirty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b>
                              <m:sSubPr>
                                <m:ctrlPr>
                                  <a:rPr lang="en-US" altLang="zh-CN" i="1" dirty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dirty="0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altLang="zh-CN" i="1" dirty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⋮</m:t>
                            </m:r>
                          </m:e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sub>
                            </m:sSub>
                          </m:e>
                        </m:eqArr>
                      </m:e>
                    </m:d>
                  </m:oMath>
                </a14:m>
                <a:endParaRPr lang="zh-CN" altLang="zh-CN" dirty="0"/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   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𝒚</m:t>
                        </m:r>
                      </m:e>
                    </m:acc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𝑿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𝜽</m:t>
                    </m:r>
                    <m:r>
                      <a:rPr lang="en-US" altLang="zh-CN" b="1" i="1" dirty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altLang="zh-CN" i="1" dirty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p>
                              <m:sSup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zh-CN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e>
                                </m:d>
                              </m:sup>
                            </m:sSup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𝜽</m:t>
                            </m:r>
                          </m:e>
                          <m:e>
                            <m:sSup>
                              <m:sSup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zh-CN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e>
                                </m:d>
                              </m:sup>
                            </m:sSup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𝜽</m:t>
                            </m:r>
                          </m:e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⋮</m:t>
                            </m:r>
                          </m:e>
                          <m:e>
                            <m:sSup>
                              <m:sSup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zh-CN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</m:d>
                              </m:sup>
                            </m:sSup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𝜽</m:t>
                            </m:r>
                          </m:e>
                        </m:eqArr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𝐽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𝜽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𝒚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acc>
                        <m:accPr>
                          <m:chr m:val="̂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𝒚</m:t>
                          </m:r>
                        </m:e>
                      </m:acc>
                      <m:sSup>
                        <m:sSup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⊤</m:t>
                          </m:r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𝒚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acc>
                        <m:accPr>
                          <m:chr m:val="̂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𝒚</m:t>
                          </m:r>
                        </m:e>
                      </m:acc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𝒚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𝑿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𝜽</m:t>
                      </m:r>
                      <m:sSup>
                        <m:sSup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⊤</m:t>
                          </m:r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𝒚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𝑿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𝜽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0111"/>
                <a:ext cx="8317218" cy="543083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占位符 3"/>
          <p:cNvSpPr txBox="1"/>
          <p:nvPr/>
        </p:nvSpPr>
        <p:spPr>
          <a:xfrm>
            <a:off x="502444" y="1119039"/>
            <a:ext cx="1979499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训练数据矩阵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41" y="3400986"/>
            <a:ext cx="1150868" cy="554784"/>
          </a:xfrm>
          <a:prstGeom prst="rect">
            <a:avLst/>
          </a:prstGeom>
        </p:spPr>
      </p:pic>
      <p:sp>
        <p:nvSpPr>
          <p:cNvPr id="11" name="文本占位符 3"/>
          <p:cNvSpPr txBox="1"/>
          <p:nvPr/>
        </p:nvSpPr>
        <p:spPr>
          <a:xfrm>
            <a:off x="502441" y="5084298"/>
            <a:ext cx="1474141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回顾：线性回归的矩阵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9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5" y="1285289"/>
            <a:ext cx="1554956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502442" y="1839338"/>
                <a:ext cx="8137922" cy="56179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14:m>
                  <m:oMath xmlns:m="http://schemas.openxmlformats.org/officeDocument/2006/math">
                    <m:r>
                      <a:rPr lang="en-US" altLang="zh-CN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num>
                      <m:den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𝒚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𝑿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</m:d>
                      </m:e>
                      <m:sup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d>
                      <m:dPr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𝒚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𝑿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b="1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lim>
                        </m:limLow>
                      </m:fName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</m:d>
                      </m:e>
                    </m:func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839338"/>
                <a:ext cx="8137922" cy="561798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14" name="文本占位符 3"/>
          <p:cNvSpPr txBox="1"/>
          <p:nvPr/>
        </p:nvSpPr>
        <p:spPr>
          <a:xfrm>
            <a:off x="502444" y="2546158"/>
            <a:ext cx="2538930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对参数向量的梯度</a:t>
            </a:r>
          </a:p>
        </p:txBody>
      </p:sp>
      <p:sp>
        <p:nvSpPr>
          <p:cNvPr id="16" name="文本占位符 3"/>
          <p:cNvSpPr txBox="1"/>
          <p:nvPr/>
        </p:nvSpPr>
        <p:spPr>
          <a:xfrm>
            <a:off x="502443" y="3983063"/>
            <a:ext cx="216124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最优参数求解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内容占位符 2"/>
              <p:cNvSpPr txBox="1">
                <a:spLocks/>
              </p:cNvSpPr>
              <p:nvPr/>
            </p:nvSpPr>
            <p:spPr>
              <a:xfrm>
                <a:off x="502442" y="3109063"/>
                <a:ext cx="8137922" cy="76687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d>
                        </m:num>
                        <m:den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p>
                        <m:sSupPr>
                          <m:ctrlP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</m:e>
                        <m:sup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d>
                        <m:dPr>
                          <m:ctrlP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109063"/>
                <a:ext cx="8137922" cy="766878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/>
              <p:cNvSpPr txBox="1">
                <a:spLocks/>
              </p:cNvSpPr>
              <p:nvPr/>
            </p:nvSpPr>
            <p:spPr>
              <a:xfrm>
                <a:off x="502442" y="4674762"/>
                <a:ext cx="8137922" cy="146762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f>
                            <m:fPr>
                              <m:ctrlP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zh-CN" alt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𝜽</m:t>
                                  </m:r>
                                </m:e>
                              </m:d>
                            </m:num>
                            <m:den>
                              <m:r>
                                <a:rPr lang="zh-CN" alt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den>
                          </m:f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 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→</m:t>
                          </m:r>
                          <m:sSup>
                            <m:sSup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𝑿</m:t>
                              </m:r>
                            </m:e>
                            <m:sup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𝒚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𝑿</m:t>
                              </m:r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 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→</m:t>
                          </m:r>
                          <m:sSup>
                            <m:sSupPr>
                              <m:ctrlP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𝑿</m:t>
                              </m:r>
                            </m:e>
                            <m:sup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𝑿</m:t>
                              </m:r>
                            </m:e>
                            <m:sup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 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 </m:t>
                          </m:r>
                          <m:r>
                            <m:rPr>
                              <m:aln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→</m:t>
                          </m:r>
                          <m:acc>
                            <m:accPr>
                              <m:chr m:val="̂"/>
                              <m:ctrlPr>
                                <a:rPr lang="en-US" altLang="zh-CN" b="1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b="1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acc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b="1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𝑿</m:t>
                                      </m:r>
                                    </m:e>
                                    <m:sup>
                                      <m:r>
                                        <a:rPr lang="en-US" altLang="zh-CN" b="1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⊤</m:t>
                                      </m:r>
                                    </m:sup>
                                  </m:sSup>
                                  <m:r>
                                    <a:rPr lang="en-US" altLang="zh-CN" b="1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𝑿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1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altLang="zh-CN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𝑿</m:t>
                              </m:r>
                            </m:e>
                            <m:sup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</m:e>
                      </m:eqArr>
                    </m:oMath>
                  </m:oMathPara>
                </a14:m>
                <a:endParaRPr lang="en-US" altLang="zh-CN" b="1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674762"/>
                <a:ext cx="8137922" cy="1467621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判别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 dirty="0"/>
          </a:p>
        </p:txBody>
      </p:sp>
      <p:sp>
        <p:nvSpPr>
          <p:cNvPr id="5" name="文本占位符 3"/>
          <p:cNvSpPr txBox="1"/>
          <p:nvPr/>
        </p:nvSpPr>
        <p:spPr>
          <a:xfrm>
            <a:off x="502444" y="1374739"/>
            <a:ext cx="136717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判别模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1938727"/>
                <a:ext cx="8137922" cy="191771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775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性质</a:t>
                </a:r>
                <a:r>
                  <a:rPr lang="en-US" altLang="zh-CN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</a:p>
              <a:p>
                <a:pPr lvl="1"/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建模预测变量和观测变量之间的关系</a:t>
                </a:r>
                <a:endParaRPr lang="en-US" altLang="zh-CN" sz="23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也称作条件模型</a:t>
                </a:r>
                <a:r>
                  <a:rPr lang="en-US" altLang="zh-CN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en-US" altLang="zh-CN" sz="23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onditional Models</a:t>
                </a:r>
                <a:r>
                  <a:rPr lang="en-US" altLang="zh-CN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</a:p>
              <a:p>
                <a:r>
                  <a:rPr lang="zh-CN" altLang="en-US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类</a:t>
                </a:r>
                <a:endParaRPr lang="en-US" altLang="zh-CN" sz="2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3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判别模型</a:t>
                </a:r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</a:t>
                </a:r>
                <a14:m>
                  <m:oMath xmlns:m="http://schemas.openxmlformats.org/officeDocument/2006/math"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sz="23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zh-CN" altLang="en-US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23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概率判别模型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23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938727"/>
                <a:ext cx="8137922" cy="1917717"/>
              </a:xfrm>
              <a:prstGeom prst="rect">
                <a:avLst/>
              </a:prstGeom>
              <a:blipFill rotWithShape="1">
                <a:blip r:embed="rId5"/>
                <a:stretch>
                  <a:fillRect l="-449" t="-4127" b="-158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9" name="文本占位符 3"/>
          <p:cNvSpPr txBox="1"/>
          <p:nvPr/>
        </p:nvSpPr>
        <p:spPr>
          <a:xfrm>
            <a:off x="502441" y="4197136"/>
            <a:ext cx="441380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线性判别模型 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linear regression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/>
              <p:cNvSpPr txBox="1">
                <a:spLocks/>
              </p:cNvSpPr>
              <p:nvPr/>
            </p:nvSpPr>
            <p:spPr>
              <a:xfrm>
                <a:off x="1034474" y="4715117"/>
                <a:ext cx="7605890" cy="1343937"/>
              </a:xfrm>
              <a:prstGeom prst="rect">
                <a:avLst/>
              </a:prstGeom>
            </p:spPr>
            <p:txBody>
              <a:bodyPr vert="horz" lIns="91440" tIns="45720" rIns="91440" bIns="45720" numCol="2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𝑦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𝑗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𝑗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𝑥</m:t>
                      </m:r>
                    </m:oMath>
                  </m:oMathPara>
                </a14:m>
                <a:endParaRPr lang="en-US" altLang="zh-CN" b="0" i="1" dirty="0">
                  <a:latin typeface="Cambria Math" panose="02040503050406030204" pitchFamily="18" charset="0"/>
                  <a:ea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(1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,⋯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𝑑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4474" y="4715117"/>
                <a:ext cx="7605890" cy="1343937"/>
              </a:xfrm>
              <a:prstGeom prst="rect">
                <a:avLst/>
              </a:prstGeom>
              <a:blipFill rotWithShape="1">
                <a:blip r:embed="rId6"/>
                <a:stretch>
                  <a:fillRect b="-13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泛线性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0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5" y="1285289"/>
            <a:ext cx="3127446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相关关系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Dependence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502442" y="1839337"/>
                <a:ext cx="8137922" cy="452451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𝑦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𝑓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𝜙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特征映射函数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𝜙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ℝ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𝑑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↦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ℝ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h</m:t>
                        </m:r>
                      </m:sup>
                    </m:s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特征映射矩阵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Φ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𝑛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×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h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:endParaRPr lang="en-US" altLang="zh-CN" i="1" dirty="0">
                  <a:latin typeface="Cambria Math" panose="02040503050406030204" pitchFamily="18" charset="0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b="1" i="1">
                          <a:latin typeface="Cambria Math" panose="02040503050406030204" pitchFamily="18" charset="0"/>
                        </a:rPr>
                        <m:t>𝜱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&amp;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e>
                                      </m:d>
                                    </m:sup>
                                  </m:sSup>
                                </m:e>
                              </m:d>
                            </m:e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&amp;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sup>
                                  </m:sSup>
                                </m:e>
                              </m:d>
                            </m:e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&amp;⋮</m:t>
                              </m:r>
                            </m:e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&amp;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e>
                                      </m:d>
                                    </m:sup>
                                  </m:sSup>
                                </m:e>
                              </m:d>
                            </m:e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&amp;⋮</m:t>
                              </m:r>
                            </m:e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&amp;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𝑛</m:t>
                                          </m:r>
                                        </m:e>
                                      </m:d>
                                    </m:sup>
                                  </m:sSup>
                                </m:e>
                              </m:d>
                            </m:e>
                          </m:eqArr>
                        </m:e>
                      </m:d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plcHide m:val="on"/>
                              <m:mcs>
                                <m:mc>
                                  <m:mcPr>
                                    <m:count m:val="4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⋯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h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⋯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h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⋱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⋯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h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⋱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⋯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h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dirty="0"/>
              </a:p>
              <a:p>
                <a:pPr marL="457200" lvl="1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839337"/>
                <a:ext cx="8137922" cy="4524517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核线性回归的矩阵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1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5" y="1285289"/>
            <a:ext cx="1554956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502442" y="1839338"/>
                <a:ext cx="8137922" cy="56179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14:m>
                  <m:oMath xmlns:m="http://schemas.openxmlformats.org/officeDocument/2006/math">
                    <m:r>
                      <a:rPr lang="en-US" altLang="zh-CN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num>
                      <m:den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𝒚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b="1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𝚽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</m:d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⊤</m:t>
                        </m:r>
                      </m:sup>
                    </m:sSup>
                    <m:d>
                      <m:dPr>
                        <m:ctrlP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𝒚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1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𝚽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𝜽</m:t>
                        </m:r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altLang="zh-CN" b="1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b="1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lim>
                        </m:limLow>
                      </m:fName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𝜽</m:t>
                            </m:r>
                          </m:e>
                        </m:d>
                      </m:e>
                    </m:func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839338"/>
                <a:ext cx="8137922" cy="561798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14" name="文本占位符 3"/>
          <p:cNvSpPr txBox="1"/>
          <p:nvPr/>
        </p:nvSpPr>
        <p:spPr>
          <a:xfrm>
            <a:off x="502444" y="2546158"/>
            <a:ext cx="2538930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对参数向量的梯度</a:t>
            </a:r>
          </a:p>
        </p:txBody>
      </p:sp>
      <p:sp>
        <p:nvSpPr>
          <p:cNvPr id="16" name="文本占位符 3"/>
          <p:cNvSpPr txBox="1"/>
          <p:nvPr/>
        </p:nvSpPr>
        <p:spPr>
          <a:xfrm>
            <a:off x="502443" y="3983063"/>
            <a:ext cx="216124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最优参数求解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内容占位符 2"/>
              <p:cNvSpPr txBox="1">
                <a:spLocks/>
              </p:cNvSpPr>
              <p:nvPr/>
            </p:nvSpPr>
            <p:spPr>
              <a:xfrm>
                <a:off x="502442" y="3109063"/>
                <a:ext cx="8137922" cy="76687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d>
                        </m:num>
                        <m:den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p>
                        <m:sSupPr>
                          <m:ctrlP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𝚽</m:t>
                          </m:r>
                        </m:e>
                        <m:sup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d>
                        <m:dPr>
                          <m:ctrlP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109063"/>
                <a:ext cx="8137922" cy="766878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/>
              <p:cNvSpPr txBox="1">
                <a:spLocks/>
              </p:cNvSpPr>
              <p:nvPr/>
            </p:nvSpPr>
            <p:spPr>
              <a:xfrm>
                <a:off x="502442" y="4674762"/>
                <a:ext cx="8137922" cy="146762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f>
                            <m:fPr>
                              <m:ctrlP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zh-CN" alt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𝜽</m:t>
                                  </m:r>
                                </m:e>
                              </m:d>
                            </m:num>
                            <m:den>
                              <m:r>
                                <a:rPr lang="zh-CN" alt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den>
                          </m:f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 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→</m:t>
                          </m:r>
                          <m:sSup>
                            <m:sSup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𝚽</m:t>
                              </m:r>
                            </m:e>
                            <m:sup>
                              <m:r>
                                <a:rPr lang="en-US" altLang="zh-CN" b="0" i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𝒚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r>
                                <a:rPr lang="en-US" altLang="zh-CN" b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𝚽</m:t>
                              </m:r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 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→</m:t>
                          </m:r>
                          <m:sSup>
                            <m:sSup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𝚽</m:t>
                              </m:r>
                            </m:e>
                            <m:sup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𝚽</m:t>
                              </m:r>
                            </m:e>
                            <m:sup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𝚽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𝜽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 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 </m:t>
                          </m:r>
                          <m:r>
                            <m:rPr>
                              <m:aln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→</m:t>
                          </m:r>
                          <m:acc>
                            <m:accPr>
                              <m:chr m:val="̂"/>
                              <m:ctrlPr>
                                <a:rPr lang="en-US" altLang="zh-CN" b="1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b="1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acc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b="1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𝚽</m:t>
                                      </m:r>
                                    </m:e>
                                    <m:sup>
                                      <m: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⊤</m:t>
                                      </m:r>
                                    </m:sup>
                                  </m:sSup>
                                  <m:r>
                                    <a:rPr lang="en-US" altLang="zh-CN" b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𝚽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1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𝚽</m:t>
                              </m:r>
                            </m:e>
                            <m:sup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</m:e>
                      </m:eqArr>
                    </m:oMath>
                  </m:oMathPara>
                </a14:m>
                <a:endParaRPr lang="en-US" altLang="zh-CN" b="1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674762"/>
                <a:ext cx="8137922" cy="1467621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C30B4978-5C2A-4BC7-9809-54BAAD4C7C22}"/>
              </a:ext>
            </a:extLst>
          </p:cNvPr>
          <p:cNvSpPr/>
          <p:nvPr/>
        </p:nvSpPr>
        <p:spPr>
          <a:xfrm>
            <a:off x="5237825" y="2678382"/>
            <a:ext cx="3581835" cy="6127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核线性回归的矩阵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502443" y="1204184"/>
                <a:ext cx="8137922" cy="533515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+mn-ea"/>
                    <a:ea typeface="+mn-ea"/>
                    <a:cs typeface="阿里巴巴普惠体 R" panose="00020600040101010101" pitchFamily="18" charset="-122"/>
                  </a:rPr>
                  <a:t>使用线性代数技巧</a:t>
                </a:r>
                <a:endParaRPr lang="en-US" altLang="zh-CN" dirty="0">
                  <a:latin typeface="+mn-ea"/>
                  <a:ea typeface="+mn-ea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20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𝑷</m:t>
                                  </m:r>
                                </m:e>
                                <m:sup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𝟏</m:t>
                                  </m:r>
                                </m:sup>
                              </m:sSup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𝑩</m:t>
                                  </m:r>
                                </m:e>
                                <m:sup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𝑹</m:t>
                                  </m:r>
                                </m:e>
                                <m:sup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𝟏</m:t>
                                  </m:r>
                                </m:sup>
                              </m:sSup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𝑩</m:t>
                              </m:r>
                            </m:e>
                          </m:d>
                        </m:e>
                        <m:sup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𝟏</m:t>
                          </m:r>
                        </m:sup>
                      </m:sSup>
                      <m:sSup>
                        <m:sSup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𝑩</m:t>
                          </m:r>
                        </m:e>
                        <m:sup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sSup>
                        <m:sSupPr>
                          <m:ctrlP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𝑹</m:t>
                          </m:r>
                        </m:e>
                        <m:sup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𝟏</m:t>
                          </m:r>
                        </m:sup>
                      </m:sSup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𝑷</m:t>
                      </m:r>
                      <m:sSup>
                        <m:sSup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𝑩</m:t>
                          </m:r>
                        </m:e>
                        <m:sup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sSup>
                        <m:sSup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𝑩𝑷</m:t>
                              </m:r>
                              <m:sSup>
                                <m:sSupPr>
                                  <m:ctrlP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𝑩</m:t>
                                  </m:r>
                                </m:e>
                                <m:sup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r>
                                <a:rPr lang="en-US" altLang="zh-CN" b="1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𝑹</m:t>
                              </m:r>
                            </m:e>
                          </m:d>
                        </m:e>
                        <m:sup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𝟏</m:t>
                          </m:r>
                        </m:sup>
                      </m:sSup>
                    </m:oMath>
                  </m:oMathPara>
                </a14:m>
                <a:endParaRPr lang="en-US" altLang="zh-CN" b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L2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正则化的最优参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20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1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acc>
                            <m:accPr>
                              <m:chr m:val="̂"/>
                              <m:ctrlPr>
                                <a:rPr lang="en-US" altLang="zh-CN" b="1" i="1" dirty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b="1" i="1" dirty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acc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altLang="zh-CN" b="1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b="1" i="1" dirty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𝚽</m:t>
                                      </m:r>
                                    </m:e>
                                    <m:sup>
                                      <m:r>
                                        <a:rPr lang="en-US" altLang="zh-CN" b="0" i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⊤</m:t>
                                      </m:r>
                                    </m:sup>
                                  </m:sSup>
                                  <m:r>
                                    <a:rPr lang="en-US" altLang="zh-CN" b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𝚽</m:t>
                                  </m:r>
                                  <m:r>
                                    <a:rPr lang="en-US" altLang="zh-CN" b="1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𝜆</m:t>
                                  </m:r>
                                  <m:sSub>
                                    <m:sSubPr>
                                      <m:ctrlPr>
                                        <a:rPr lang="en-US" altLang="zh-CN" b="1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1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𝑰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h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1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𝚽</m:t>
                              </m:r>
                            </m:e>
                            <m:sup>
                              <m:r>
                                <a:rPr lang="en-US" altLang="zh-CN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</m:e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=</m:t>
                          </m:r>
                          <m:sSup>
                            <m:sSup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altLang="zh-CN" b="1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𝚽</m:t>
                                  </m:r>
                                </m:e>
                                <m:sup>
                                  <m: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1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𝚽</m:t>
                                  </m:r>
                                  <m:sSup>
                                    <m:sSupPr>
                                      <m:ctrlP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𝚽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𝑇</m:t>
                                      </m:r>
                                    </m:sup>
                                  </m:sSup>
                                  <m:r>
                                    <a:rPr lang="en-US" altLang="zh-CN" b="1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𝜆</m:t>
                                  </m:r>
                                  <m:sSub>
                                    <m:sSubPr>
                                      <m:ctrlP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𝑰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𝑛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1</m:t>
                              </m:r>
                            </m:sup>
                          </m:sSup>
                          <m:r>
                            <a:rPr lang="en-US" altLang="zh-CN" b="1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200000"/>
                  </a:lnSpc>
                  <a:buNone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预测时，不需要使用</a:t>
                </a:r>
                <a14:m>
                  <m:oMath xmlns:m="http://schemas.openxmlformats.org/officeDocument/2006/math">
                    <m:r>
                      <a:rPr lang="en-US" altLang="zh-CN" b="1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𝚽</m:t>
                    </m:r>
                  </m:oMath>
                </a14:m>
                <a:endParaRPr lang="en-US" altLang="zh-CN" b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1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acc>
                            <m:accPr>
                              <m:chr m:val="̂"/>
                              <m:ctrlPr>
                                <a:rPr lang="en-US" altLang="zh-CN" b="1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b="1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𝒚</m:t>
                              </m:r>
                            </m:e>
                          </m:acc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+mn-ea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1" i="0" dirty="0" smtClean="0">
                              <a:latin typeface="Cambria Math" panose="02040503050406030204" pitchFamily="18" charset="0"/>
                              <a:ea typeface="+mn-ea"/>
                              <a:cs typeface="阿里巴巴普惠体 R" panose="00020600040101010101" pitchFamily="18" charset="-122"/>
                            </a:rPr>
                            <m:t>𝚽</m:t>
                          </m:r>
                          <m:acc>
                            <m:accPr>
                              <m:chr m:val="̂"/>
                              <m:ctrlPr>
                                <a:rPr lang="en-US" altLang="zh-CN" b="1" i="1" dirty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b="1" i="1" dirty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𝜽</m:t>
                              </m:r>
                            </m:e>
                          </m:acc>
                          <m:r>
                            <a:rPr lang="en-US" altLang="zh-CN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b="1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altLang="zh-CN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1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𝚽</m:t>
                              </m:r>
                              <m:sSup>
                                <m:sSupPr>
                                  <m:ctrlPr>
                                    <a:rPr lang="en-US" altLang="zh-CN" b="1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𝚽</m:t>
                                  </m:r>
                                </m:e>
                                <m:sup>
                                  <m: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1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𝚽</m:t>
                                  </m:r>
                                  <m:sSup>
                                    <m:sSupPr>
                                      <m:ctrlP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𝚽</m:t>
                                      </m:r>
                                    </m:e>
                                    <m:sup>
                                      <m:r>
                                        <a:rPr lang="en-US" altLang="zh-CN" b="1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⊤</m:t>
                                      </m:r>
                                    </m:sup>
                                  </m:sSup>
                                  <m:r>
                                    <a:rPr lang="en-US" altLang="zh-CN" b="1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𝜆</m:t>
                                  </m:r>
                                  <m:sSub>
                                    <m:sSubPr>
                                      <m:ctrlP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1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𝑰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𝑛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1</m:t>
                              </m:r>
                            </m:sup>
                          </m:sSup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</m:e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=</m:t>
                          </m:r>
                          <m:r>
                            <a:rPr lang="en-US" altLang="zh-CN" b="1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𝑲</m:t>
                          </m:r>
                          <m:sSup>
                            <m:sSupPr>
                              <m:ctrlPr>
                                <a:rPr lang="en-US" altLang="zh-CN" b="1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b="1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1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𝑲</m:t>
                                  </m:r>
                                  <m:r>
                                    <a:rPr lang="en-US" altLang="zh-CN" b="1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𝜆</m:t>
                                  </m:r>
                                  <m:sSub>
                                    <m:sSubPr>
                                      <m:ctrlPr>
                                        <a:rPr lang="en-US" altLang="zh-CN" b="1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1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𝑰</m:t>
                                      </m:r>
                                    </m:e>
                                    <m:sub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𝑛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altLang="zh-CN" b="1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r>
                                <a:rPr lang="en-US" altLang="zh-CN" b="1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𝟏</m:t>
                              </m:r>
                            </m:sup>
                          </m:sSup>
                          <m:r>
                            <a:rPr lang="en-US" altLang="zh-CN" b="1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𝒚</m:t>
                          </m:r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:r>
                  <a:rPr lang="zh-CN" altLang="en-US" dirty="0"/>
                  <a:t>其中核矩阵</a:t>
                </a:r>
                <a14:m>
                  <m:oMath xmlns:m="http://schemas.openxmlformats.org/officeDocument/2006/math"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𝑲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{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p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e>
                        </m:d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p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e>
                        </m:d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)}</m:t>
                    </m:r>
                  </m:oMath>
                </a14:m>
                <a:endParaRPr lang="zh-CN" altLang="en-US" dirty="0"/>
              </a:p>
              <a:p>
                <a:pPr marL="457200" lvl="1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04184"/>
                <a:ext cx="8137922" cy="5335154"/>
              </a:xfrm>
              <a:prstGeom prst="rect">
                <a:avLst/>
              </a:prstGeom>
              <a:blipFill>
                <a:blip r:embed="rId4"/>
                <a:stretch>
                  <a:fillRect l="-449" t="-68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5815230" cy="206381"/>
          </a:xfrm>
        </p:spPr>
        <p:txBody>
          <a:bodyPr/>
          <a:lstStyle/>
          <a:p>
            <a:r>
              <a:rPr lang="en-US" altLang="zh-CN" dirty="0"/>
              <a:t>http://www.ics.uci.edu/~welling/classnotes/papers_class/Kernel-Ridge.pdf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1861F3FE-7B91-4C83-BA43-55B779E5B39E}"/>
                  </a:ext>
                </a:extLst>
              </p:cNvPr>
              <p:cNvSpPr txBox="1"/>
              <p:nvPr/>
            </p:nvSpPr>
            <p:spPr>
              <a:xfrm>
                <a:off x="5188387" y="2678382"/>
                <a:ext cx="3684539" cy="6127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𝑷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𝜆</m:t>
                          </m:r>
                        </m:den>
                      </m:f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𝑰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h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×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h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    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𝑹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𝑰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𝑛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×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𝑛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   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𝑩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𝚽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𝑛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×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h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1861F3FE-7B91-4C83-BA43-55B779E5B3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8387" y="2678382"/>
                <a:ext cx="3684539" cy="6127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最大似然估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259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判别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4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5" y="1285289"/>
            <a:ext cx="1554956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判别模型</a:t>
            </a:r>
            <a:endParaRPr lang="en-US" altLang="zh-CN" dirty="0"/>
          </a:p>
        </p:txBody>
      </p:sp>
      <p:sp>
        <p:nvSpPr>
          <p:cNvPr id="16" name="文本占位符 3"/>
          <p:cNvSpPr txBox="1"/>
          <p:nvPr/>
        </p:nvSpPr>
        <p:spPr>
          <a:xfrm>
            <a:off x="502443" y="3983063"/>
            <a:ext cx="328215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带高斯白噪声的线性拟合</a:t>
            </a:r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/>
              <p:cNvSpPr txBox="1">
                <a:spLocks/>
              </p:cNvSpPr>
              <p:nvPr/>
            </p:nvSpPr>
            <p:spPr>
              <a:xfrm>
                <a:off x="925158" y="4077050"/>
                <a:ext cx="6336254" cy="26505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𝑦</m:t>
                      </m:r>
                      <m:r>
                        <a:rPr lang="en-US" altLang="zh-CN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zh-CN" altLang="en-US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zh-CN" altLang="en-US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𝜖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</m:t>
                          </m:r>
                        </m:sub>
                      </m:sSub>
                      <m:r>
                        <a:rPr lang="en-US" altLang="zh-CN" i="1" dirty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en-US" altLang="zh-CN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𝑗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lang="en-US" altLang="zh-CN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zh-CN" altLang="en-US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𝑗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altLang="zh-CN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zh-CN" altLang="en-US" i="1" dirty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𝜖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zh-CN" altLang="en-US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⊤</m:t>
                          </m:r>
                        </m:sup>
                      </m:sSup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zh-CN" altLang="en-US" i="1" dirty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𝜖</m:t>
                      </m:r>
                    </m:oMath>
                  </m:oMathPara>
                </a14:m>
                <a:endParaRPr lang="en-US" altLang="zh-CN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𝜖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~</m:t>
                      </m:r>
                      <m:r>
                        <a:rPr lang="zh-CN" altLang="en-US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𝒩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,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zh-CN" alt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𝜎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altLang="zh-CN" b="0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(1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…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5158" y="4077050"/>
                <a:ext cx="6336254" cy="2650548"/>
              </a:xfrm>
              <a:prstGeom prst="rect">
                <a:avLst/>
              </a:prstGeom>
              <a:blipFill>
                <a:blip r:embed="rId2"/>
                <a:stretch>
                  <a:fillRect t="-18660" b="-90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/>
              <p:cNvSpPr txBox="1">
                <a:spLocks/>
              </p:cNvSpPr>
              <p:nvPr/>
            </p:nvSpPr>
            <p:spPr>
              <a:xfrm>
                <a:off x="502442" y="1937219"/>
                <a:ext cx="7675381" cy="205283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建模预测变量和观测变量之间的关系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又名条件模型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onditional Models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判别模型：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zh-CN" altLang="en-US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b="1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概率判别模型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zh-CN" altLang="en-US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937219"/>
                <a:ext cx="7675381" cy="2052836"/>
              </a:xfrm>
              <a:prstGeom prst="rect">
                <a:avLst/>
              </a:prstGeom>
              <a:blipFill rotWithShape="1">
                <a:blip r:embed="rId5"/>
                <a:stretch>
                  <a:fillRect l="-476" t="-178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组合 31"/>
          <p:cNvGrpSpPr/>
          <p:nvPr/>
        </p:nvGrpSpPr>
        <p:grpSpPr>
          <a:xfrm>
            <a:off x="2247351" y="1803419"/>
            <a:ext cx="6096000" cy="2990192"/>
            <a:chOff x="3170141" y="1518193"/>
            <a:chExt cx="6096000" cy="2990192"/>
          </a:xfrm>
        </p:grpSpPr>
        <p:pic>
          <p:nvPicPr>
            <p:cNvPr id="19" name="Picture 2" descr="http://0.tqn.com/d/statistics/1/S/5/-/-/-/bellcurve.GIF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0141" y="1518193"/>
              <a:ext cx="6096000" cy="2362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1" name="直接连接符 20"/>
            <p:cNvCxnSpPr/>
            <p:nvPr/>
          </p:nvCxnSpPr>
          <p:spPr>
            <a:xfrm>
              <a:off x="7011801" y="2356051"/>
              <a:ext cx="0" cy="1382395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>
              <a:off x="6193195" y="1588971"/>
              <a:ext cx="0" cy="2125617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文本框 26"/>
                <p:cNvSpPr txBox="1"/>
                <p:nvPr/>
              </p:nvSpPr>
              <p:spPr>
                <a:xfrm>
                  <a:off x="6107185" y="3781919"/>
                  <a:ext cx="182941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27" name="文本框 2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07185" y="3781919"/>
                  <a:ext cx="182941" cy="276999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26667" r="-33333" b="-8696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  <a:endParaRPr lang="zh-CN" altLang="en-US">
                    <a:noFill/>
                  </a:endParaRP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文本框 27"/>
                <p:cNvSpPr txBox="1"/>
                <p:nvPr/>
              </p:nvSpPr>
              <p:spPr>
                <a:xfrm>
                  <a:off x="6922385" y="3779864"/>
                  <a:ext cx="178831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i="1" smtClean="0">
                            <a:latin typeface="Cambria Math" panose="02040503050406030204" pitchFamily="18" charset="0"/>
                          </a:rPr>
                          <m:t>𝜖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28" name="文本框 2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22385" y="3779864"/>
                  <a:ext cx="178831" cy="276999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 l="-16667" r="-10000" b="-2222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  <a:endParaRPr lang="zh-CN" altLang="en-US">
                    <a:noFill/>
                  </a:endParaRP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" name="文本框 28"/>
                <p:cNvSpPr txBox="1"/>
                <p:nvPr/>
              </p:nvSpPr>
              <p:spPr>
                <a:xfrm>
                  <a:off x="5965985" y="4231386"/>
                  <a:ext cx="454420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 smtClean="0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29" name="文本框 2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965985" y="4231386"/>
                  <a:ext cx="454420" cy="276999"/>
                </a:xfrm>
                <a:prstGeom prst="rect">
                  <a:avLst/>
                </a:prstGeom>
                <a:blipFill rotWithShape="1">
                  <a:blip r:embed="rId7"/>
                  <a:stretch>
                    <a:fillRect l="-9333" t="-2222" r="-5333" b="-8889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  <a:endParaRPr lang="zh-CN" altLang="en-US">
                    <a:noFill/>
                  </a:endParaRP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文本框 29"/>
                <p:cNvSpPr txBox="1"/>
                <p:nvPr/>
              </p:nvSpPr>
              <p:spPr>
                <a:xfrm>
                  <a:off x="6909142" y="4231385"/>
                  <a:ext cx="1280029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𝜖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30" name="文本框 2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09142" y="4231385"/>
                  <a:ext cx="1280029" cy="276999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 l="-3810" t="-2222" r="-1429" b="-28889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  <a:endParaRPr lang="zh-CN" altLang="en-US">
                    <a:noFill/>
                  </a:endParaRPr>
                </a:p>
              </p:txBody>
            </p:sp>
          </mc:Fallback>
        </mc:AlternateContent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判别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5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5" y="1285289"/>
            <a:ext cx="1554956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优化目标</a:t>
            </a:r>
            <a:endParaRPr lang="en-US" altLang="zh-CN" dirty="0"/>
          </a:p>
        </p:txBody>
      </p:sp>
      <p:sp>
        <p:nvSpPr>
          <p:cNvPr id="16" name="文本占位符 3"/>
          <p:cNvSpPr txBox="1"/>
          <p:nvPr/>
        </p:nvSpPr>
        <p:spPr>
          <a:xfrm>
            <a:off x="502443" y="4889075"/>
            <a:ext cx="368366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一个数据点的标签预测似然</a:t>
            </a:r>
          </a:p>
        </p:txBody>
      </p:sp>
      <p:sp>
        <p:nvSpPr>
          <p:cNvPr id="15" name="内容占位符 2"/>
          <p:cNvSpPr txBox="1"/>
          <p:nvPr/>
        </p:nvSpPr>
        <p:spPr>
          <a:xfrm>
            <a:off x="502443" y="1937219"/>
            <a:ext cx="4425158" cy="6281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最大似然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likelihood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949212" y="5618069"/>
                <a:ext cx="2790123" cy="6235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𝑝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zh-CN" altLang="en-US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0" i="1" smtClean="0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rad>
                        </m:den>
                      </m:f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⊤</m:t>
                                      </m:r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0" i="1" smtClean="0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9212" y="5618069"/>
                <a:ext cx="2790123" cy="623504"/>
              </a:xfrm>
              <a:prstGeom prst="rect">
                <a:avLst/>
              </a:prstGeom>
              <a:blipFill>
                <a:blip r:embed="rId9"/>
                <a:stretch>
                  <a:fillRect l="-1357" b="-1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6403313" y="2333697"/>
                <a:ext cx="2261708" cy="7119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b="0" i="1" smtClean="0">
                          <a:latin typeface="Cambria Math" panose="02040503050406030204" pitchFamily="18" charset="0"/>
                        </a:rPr>
                        <m:t>𝜖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rad>
                        </m:den>
                      </m:f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𝜖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3313" y="2333697"/>
                <a:ext cx="2261708" cy="711926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6822979" y="1937219"/>
                <a:ext cx="142237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𝜖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~</m:t>
                      </m:r>
                      <m:r>
                        <a:rPr lang="zh-CN" altLang="en-US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𝒩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,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𝜎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22979" y="1937219"/>
                <a:ext cx="1422377" cy="369332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概率判别模型的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6</a:t>
            </a:fld>
            <a:endParaRPr lang="zh-CN" altLang="en-US" dirty="0"/>
          </a:p>
        </p:txBody>
      </p:sp>
      <p:sp>
        <p:nvSpPr>
          <p:cNvPr id="12" name="文本占位符 3"/>
          <p:cNvSpPr txBox="1"/>
          <p:nvPr/>
        </p:nvSpPr>
        <p:spPr>
          <a:xfrm>
            <a:off x="502445" y="1285289"/>
            <a:ext cx="2958194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最大化训练数据的似然</a:t>
            </a:r>
          </a:p>
        </p:txBody>
      </p:sp>
      <p:sp>
        <p:nvSpPr>
          <p:cNvPr id="16" name="文本占位符 3"/>
          <p:cNvSpPr txBox="1"/>
          <p:nvPr/>
        </p:nvSpPr>
        <p:spPr>
          <a:xfrm>
            <a:off x="502443" y="3198678"/>
            <a:ext cx="347475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最大化训练数据的对数似然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502443" y="2006498"/>
                <a:ext cx="2963504" cy="8712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zh-CN" altLang="en-US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lim>
                          </m:limLow>
                        </m:fName>
                        <m:e>
                          <m:nary>
                            <m:naryPr>
                              <m:chr m:val="∏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p>
                            <m:e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ad>
                                    <m:radPr>
                                      <m:degHide m:val="on"/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radPr>
                                    <m:deg/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e>
                                  </m:rad>
                                </m:den>
                              </m:f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(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altLang="zh-CN" i="1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  <m:t>𝜃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⊤</m:t>
                                              </m:r>
                                            </m:sup>
                                          </m:sSup>
                                          <m:sSub>
                                            <m:sSub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)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den>
                                  </m:f>
                                </m:sup>
                              </m:sSup>
                            </m:e>
                          </m:nary>
                        </m:e>
                      </m:func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2006498"/>
                <a:ext cx="2963504" cy="871264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/>
              <p:cNvSpPr/>
              <p:nvPr/>
            </p:nvSpPr>
            <p:spPr>
              <a:xfrm>
                <a:off x="298743" y="3862908"/>
                <a:ext cx="8903912" cy="11482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log</m:t>
                          </m:r>
                        </m:fName>
                        <m:e>
                          <m:nary>
                            <m:naryPr>
                              <m:chr m:val="∏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p>
                            <m:e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ad>
                                    <m:radPr>
                                      <m:degHide m:val="on"/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radPr>
                                    <m:deg/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e>
                                  </m:rad>
                                </m:den>
                              </m:f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(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altLang="zh-CN" i="1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  <m:t>𝜃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⊤</m:t>
                                              </m:r>
                                            </m:sup>
                                          </m:sSup>
                                          <m:sSub>
                                            <m:sSub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)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den>
                                  </m:f>
                                </m:sup>
                              </m:sSup>
                            </m:e>
                          </m:nary>
                        </m:e>
                      </m:func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ad>
                                    <m:radPr>
                                      <m:degHide m:val="on"/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radPr>
                                    <m:deg/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e>
                                  </m:rad>
                                </m:den>
                              </m:f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(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  <m:t>𝜃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⊤</m:t>
                                              </m:r>
                                            </m:sup>
                                          </m:sSup>
                                          <m:sSub>
                                            <m:sSub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)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den>
                                  </m:f>
                                </m:sup>
                              </m:sSup>
                            </m:e>
                          </m:func>
                        </m:e>
                      </m:nary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𝜃</m:t>
                                          </m:r>
                                        </m:e>
                                        <m:sup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  <m:t>⊤</m:t>
                                          </m:r>
                                        </m:sup>
                                      </m:sSup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en-US" altLang="zh-CN" b="0" i="0" smtClean="0">
                          <a:latin typeface="Cambria Math" panose="02040503050406030204" pitchFamily="18" charset="0"/>
                        </a:rPr>
                        <m:t>const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zh-CN" altLang="en-US" dirty="0"/>
              </a:p>
            </p:txBody>
          </p:sp>
        </mc:Choice>
        <mc:Fallback xmlns="">
          <p:sp>
            <p:nvSpPr>
              <p:cNvPr id="18" name="矩形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8743" y="3862908"/>
                <a:ext cx="8903912" cy="114826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637403" y="5294795"/>
                <a:ext cx="2030491" cy="77893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zh-CN" altLang="en-US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lim>
                          </m:limLow>
                        </m:fName>
                        <m:e>
                          <m:nary>
                            <m:naryPr>
                              <m:chr m:val="∑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𝜃</m:t>
                                          </m:r>
                                        </m:e>
                                        <m:sup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  <m:t>⊤</m:t>
                                          </m:r>
                                        </m:sup>
                                      </m:sSup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nary>
                        </m:e>
                      </m:func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7403" y="5294795"/>
                <a:ext cx="2030491" cy="77893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矩形 6"/>
          <p:cNvSpPr/>
          <p:nvPr/>
        </p:nvSpPr>
        <p:spPr>
          <a:xfrm>
            <a:off x="3317753" y="5499594"/>
            <a:ext cx="26885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等价于最小均方误差学习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分类指标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评估指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3610501"/>
                <a:ext cx="8137922" cy="217146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22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rue / False</a:t>
                </a:r>
                <a:r>
                  <a:rPr lang="en-US" altLang="zh-CN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</a:p>
              <a:p>
                <a:pPr lvl="1"/>
                <a:r>
                  <a:rPr lang="en-US" altLang="zh-CN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rue</a:t>
                </a:r>
                <a:r>
                  <a:rPr lang="zh-CN" altLang="en-US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预测 </a:t>
                </a:r>
                <a:r>
                  <a:rPr lang="en-US" altLang="zh-CN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= </a:t>
                </a:r>
                <a:r>
                  <a:rPr lang="zh-CN" altLang="en-US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标签</a:t>
                </a:r>
                <a:endParaRPr lang="en-US" altLang="zh-CN" sz="19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en-US" altLang="zh-CN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False</a:t>
                </a:r>
                <a:r>
                  <a:rPr lang="zh-CN" altLang="en-US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预测 </a:t>
                </a:r>
                <a14:m>
                  <m:oMath xmlns:m="http://schemas.openxmlformats.org/officeDocument/2006/math">
                    <m:r>
                      <a:rPr lang="en-US" altLang="zh-CN" sz="19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≠</m:t>
                    </m:r>
                  </m:oMath>
                </a14:m>
                <a:r>
                  <a:rPr lang="en-US" altLang="zh-CN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标签</a:t>
                </a:r>
                <a:endParaRPr lang="en-US" altLang="zh-CN" sz="19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60000"/>
                  </a:lnSpc>
                </a:pPr>
                <a:r>
                  <a:rPr lang="en-US" altLang="zh-CN" sz="22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Positive / Negative</a:t>
                </a:r>
              </a:p>
              <a:p>
                <a:pPr lvl="1"/>
                <a:r>
                  <a:rPr lang="en-US" altLang="zh-CN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Positive</a:t>
                </a:r>
                <a:r>
                  <a:rPr lang="zh-CN" altLang="en-US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预测</a:t>
                </a:r>
                <a14:m>
                  <m:oMath xmlns:m="http://schemas.openxmlformats.org/officeDocument/2006/math">
                    <m:r>
                      <a:rPr lang="en-US" altLang="zh-CN" sz="19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sz="19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1</m:t>
                    </m:r>
                  </m:oMath>
                </a14:m>
                <a:endParaRPr lang="en-US" altLang="zh-CN" sz="19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en-US" altLang="zh-CN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Negative</a:t>
                </a:r>
                <a:r>
                  <a:rPr lang="zh-CN" altLang="en-US" sz="19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预测</a:t>
                </a:r>
                <a14:m>
                  <m:oMath xmlns:m="http://schemas.openxmlformats.org/officeDocument/2006/math">
                    <m:r>
                      <a:rPr lang="en-US" altLang="zh-CN" sz="19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sz="19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0</m:t>
                    </m:r>
                  </m:oMath>
                </a14:m>
                <a:endParaRPr lang="en-US" altLang="zh-CN" sz="19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610501"/>
                <a:ext cx="8137922" cy="2171463"/>
              </a:xfrm>
              <a:prstGeom prst="rect">
                <a:avLst/>
              </a:prstGeom>
              <a:blipFill rotWithShape="1">
                <a:blip r:embed="rId6"/>
                <a:stretch>
                  <a:fillRect l="-449" t="-1966" b="-5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graphicFrame>
        <p:nvGraphicFramePr>
          <p:cNvPr id="10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987704"/>
              </p:ext>
            </p:extLst>
          </p:nvPr>
        </p:nvGraphicFramePr>
        <p:xfrm>
          <a:off x="2633681" y="1549740"/>
          <a:ext cx="4095594" cy="16248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5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51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51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1625">
                <a:tc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1625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True</a:t>
                      </a:r>
                      <a:r>
                        <a:rPr lang="en-US" altLang="zh-CN" baseline="0" dirty="0"/>
                        <a:t> Positive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False </a:t>
                      </a:r>
                      <a:r>
                        <a:rPr lang="en-US" altLang="zh-CN" baseline="0" dirty="0"/>
                        <a:t>Negative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1625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False Positive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True Negative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文本框 4"/>
          <p:cNvSpPr txBox="1"/>
          <p:nvPr/>
        </p:nvSpPr>
        <p:spPr>
          <a:xfrm>
            <a:off x="1884745" y="2428581"/>
            <a:ext cx="6399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标签</a:t>
            </a:r>
          </a:p>
        </p:txBody>
      </p:sp>
      <p:sp>
        <p:nvSpPr>
          <p:cNvPr id="12" name="文本框 5"/>
          <p:cNvSpPr txBox="1"/>
          <p:nvPr/>
        </p:nvSpPr>
        <p:spPr>
          <a:xfrm>
            <a:off x="4549566" y="117532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</a:t>
            </a:r>
          </a:p>
        </p:txBody>
      </p:sp>
      <p:pic>
        <p:nvPicPr>
          <p:cNvPr id="13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72941" y="3478088"/>
            <a:ext cx="2400300" cy="2571750"/>
          </a:xfrm>
          <a:prstGeom prst="rect">
            <a:avLst/>
          </a:prstGeom>
        </p:spPr>
      </p:pic>
      <p:sp>
        <p:nvSpPr>
          <p:cNvPr id="14" name="文本框 8"/>
          <p:cNvSpPr txBox="1"/>
          <p:nvPr/>
        </p:nvSpPr>
        <p:spPr>
          <a:xfrm>
            <a:off x="5962561" y="3427097"/>
            <a:ext cx="604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类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5" name="文本框 9"/>
          <p:cNvSpPr txBox="1"/>
          <p:nvPr/>
        </p:nvSpPr>
        <p:spPr>
          <a:xfrm>
            <a:off x="7276498" y="4690075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类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0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6" name="文本框 10"/>
          <p:cNvSpPr txBox="1"/>
          <p:nvPr/>
        </p:nvSpPr>
        <p:spPr>
          <a:xfrm>
            <a:off x="5723136" y="3713601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latin typeface="Alibaba PuHuiTi"/>
              </a:rPr>
              <a:t>TP: </a:t>
            </a:r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</a:t>
            </a:r>
            <a:r>
              <a:rPr lang="en-US" altLang="zh-CN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1</a:t>
            </a:r>
          </a:p>
          <a:p>
            <a:r>
              <a:rPr lang="en-US" altLang="zh-CN" sz="1200" dirty="0">
                <a:latin typeface="Alibaba PuHuiTi"/>
              </a:rPr>
              <a:t>FN</a:t>
            </a:r>
            <a:r>
              <a:rPr lang="en-US" altLang="zh-CN" sz="1200" dirty="0"/>
              <a:t>: </a:t>
            </a:r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 </a:t>
            </a:r>
            <a:r>
              <a:rPr lang="en-US" altLang="zh-CN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0</a:t>
            </a:r>
            <a:endParaRPr lang="zh-CN" altLang="en-US" sz="1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7" name="文本框 11"/>
          <p:cNvSpPr txBox="1"/>
          <p:nvPr/>
        </p:nvSpPr>
        <p:spPr>
          <a:xfrm>
            <a:off x="7055549" y="5009620"/>
            <a:ext cx="8659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latin typeface="Alibaba PuHuiTi"/>
              </a:rPr>
              <a:t>FP:</a:t>
            </a:r>
            <a:r>
              <a:rPr lang="en-US" altLang="zh-CN" sz="1200" dirty="0"/>
              <a:t> </a:t>
            </a:r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 </a:t>
            </a:r>
            <a:r>
              <a:rPr lang="en-US" altLang="zh-CN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</a:t>
            </a:r>
          </a:p>
          <a:p>
            <a:r>
              <a:rPr lang="en-US" altLang="zh-CN" sz="1200" dirty="0">
                <a:latin typeface="Alibaba PuHuiTi"/>
              </a:rPr>
              <a:t>TN: </a:t>
            </a:r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</a:t>
            </a:r>
            <a:r>
              <a:rPr lang="en-US" altLang="zh-CN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0</a:t>
            </a:r>
            <a:endParaRPr lang="zh-CN" altLang="en-US" sz="1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评估指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4470135"/>
                <a:ext cx="8137922" cy="156120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类正确的样本占样本总数的比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20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Acc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TP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TN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TP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TN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FP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FN</m:t>
                          </m:r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470135"/>
                <a:ext cx="8137922" cy="1561209"/>
              </a:xfrm>
              <a:prstGeom prst="rect">
                <a:avLst/>
              </a:prstGeom>
              <a:blipFill rotWithShape="1">
                <a:blip r:embed="rId6"/>
                <a:stretch>
                  <a:fillRect l="-449" t="-195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graphicFrame>
        <p:nvGraphicFramePr>
          <p:cNvPr id="10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847879"/>
              </p:ext>
            </p:extLst>
          </p:nvPr>
        </p:nvGraphicFramePr>
        <p:xfrm>
          <a:off x="2633681" y="1549740"/>
          <a:ext cx="3985656" cy="16248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85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85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85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1625">
                <a:tc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1625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True</a:t>
                      </a:r>
                      <a:r>
                        <a:rPr lang="en-US" altLang="zh-CN" baseline="0" dirty="0"/>
                        <a:t> Positive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False </a:t>
                      </a:r>
                      <a:r>
                        <a:rPr lang="en-US" altLang="zh-CN" baseline="0" dirty="0"/>
                        <a:t>Negative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1625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False Positive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True Negative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文本框 4"/>
          <p:cNvSpPr txBox="1"/>
          <p:nvPr/>
        </p:nvSpPr>
        <p:spPr>
          <a:xfrm>
            <a:off x="1884745" y="2428581"/>
            <a:ext cx="6399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标签</a:t>
            </a:r>
          </a:p>
        </p:txBody>
      </p:sp>
      <p:sp>
        <p:nvSpPr>
          <p:cNvPr id="12" name="文本框 5"/>
          <p:cNvSpPr txBox="1"/>
          <p:nvPr/>
        </p:nvSpPr>
        <p:spPr>
          <a:xfrm>
            <a:off x="4549566" y="117532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</a:t>
            </a:r>
          </a:p>
        </p:txBody>
      </p:sp>
      <p:sp>
        <p:nvSpPr>
          <p:cNvPr id="18" name="文本占位符 3"/>
          <p:cNvSpPr txBox="1"/>
          <p:nvPr/>
        </p:nvSpPr>
        <p:spPr>
          <a:xfrm>
            <a:off x="502443" y="3766959"/>
            <a:ext cx="213123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精度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Accuracy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9" name="矩形 9"/>
          <p:cNvSpPr/>
          <p:nvPr/>
        </p:nvSpPr>
        <p:spPr>
          <a:xfrm>
            <a:off x="3951585" y="2068856"/>
            <a:ext cx="2667751" cy="1105760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7"/>
          <p:cNvSpPr/>
          <p:nvPr/>
        </p:nvSpPr>
        <p:spPr>
          <a:xfrm>
            <a:off x="3962245" y="2088712"/>
            <a:ext cx="1328845" cy="5213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7"/>
          <p:cNvSpPr/>
          <p:nvPr/>
        </p:nvSpPr>
        <p:spPr>
          <a:xfrm>
            <a:off x="5291091" y="2645547"/>
            <a:ext cx="1328245" cy="5237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回归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02443" y="1348507"/>
            <a:ext cx="81379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4480" indent="-284480"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维的线性回归和二次回归（都是线性模型）</a:t>
            </a:r>
          </a:p>
        </p:txBody>
      </p:sp>
      <p:pic>
        <p:nvPicPr>
          <p:cNvPr id="12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728" y="1817897"/>
            <a:ext cx="8350957" cy="3442868"/>
          </a:xfrm>
          <a:prstGeom prst="rect">
            <a:avLst/>
          </a:prstGeom>
        </p:spPr>
      </p:pic>
      <p:sp>
        <p:nvSpPr>
          <p:cNvPr id="15" name="文本框 7"/>
          <p:cNvSpPr txBox="1"/>
          <p:nvPr/>
        </p:nvSpPr>
        <p:spPr>
          <a:xfrm>
            <a:off x="2020742" y="5350504"/>
            <a:ext cx="11913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回归</a:t>
            </a:r>
            <a:endParaRPr lang="en-US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6" name="文本框 8"/>
          <p:cNvSpPr txBox="1"/>
          <p:nvPr/>
        </p:nvSpPr>
        <p:spPr>
          <a:xfrm>
            <a:off x="5411426" y="5333418"/>
            <a:ext cx="24064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/>
              </a:rPr>
              <a:t>二次回归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/>
            </a:endParaRPr>
          </a:p>
          <a:p>
            <a:pPr algn="ctr"/>
            <a:r>
              <a:rPr lang="en-US" sz="2000" dirty="0">
                <a:latin typeface="阿里巴巴普惠体 R" panose="00020600040101010101" pitchFamily="18" charset="-122"/>
                <a:ea typeface="阿里巴巴普惠体 R" panose="00020600040101010101"/>
              </a:rPr>
              <a:t>(</a:t>
            </a: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/>
              </a:rPr>
              <a:t>一种广义线性模型</a:t>
            </a:r>
            <a:r>
              <a:rPr lang="en-US" sz="2000" dirty="0">
                <a:latin typeface="阿里巴巴普惠体 R" panose="00020600040101010101" pitchFamily="18" charset="-122"/>
                <a:ea typeface="阿里巴巴普惠体 R" panose="00020600040101010101"/>
              </a:rPr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1893454" y="4017188"/>
                <a:ext cx="2049664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93454" y="4017188"/>
                <a:ext cx="2049664" cy="400110"/>
              </a:xfrm>
              <a:prstGeom prst="rect">
                <a:avLst/>
              </a:prstGeom>
              <a:blipFill rotWithShape="1">
                <a:blip r:embed="rId6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5627807" y="4017188"/>
                <a:ext cx="288085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27807" y="4017188"/>
                <a:ext cx="2880853" cy="400110"/>
              </a:xfrm>
              <a:prstGeom prst="rect">
                <a:avLst/>
              </a:prstGeom>
              <a:blipFill rotWithShape="1">
                <a:blip r:embed="rId7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评估指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0</a:t>
            </a:fld>
            <a:endParaRPr lang="zh-CN" altLang="en-US" dirty="0"/>
          </a:p>
        </p:txBody>
      </p:sp>
      <p:graphicFrame>
        <p:nvGraphicFramePr>
          <p:cNvPr id="14" name="表格 3"/>
          <p:cNvGraphicFramePr>
            <a:graphicFrameLocks noGrp="1"/>
          </p:cNvGraphicFramePr>
          <p:nvPr/>
        </p:nvGraphicFramePr>
        <p:xfrm>
          <a:off x="1278319" y="1872773"/>
          <a:ext cx="2699655" cy="18897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9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98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98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7882">
                <a:tc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0</a:t>
                      </a:r>
                      <a:endParaRPr lang="zh-CN" alt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09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True</a:t>
                      </a:r>
                      <a:r>
                        <a:rPr lang="en-US" altLang="zh-CN" sz="1400" baseline="0" dirty="0"/>
                        <a:t> Positive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False </a:t>
                      </a:r>
                      <a:r>
                        <a:rPr lang="en-US" altLang="zh-CN" sz="1400" baseline="0" dirty="0"/>
                        <a:t>Negative</a:t>
                      </a:r>
                      <a:endParaRPr lang="zh-CN" alt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09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0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False Positive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True Negative</a:t>
                      </a:r>
                      <a:endParaRPr lang="zh-CN" alt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5" name="文本框 4"/>
          <p:cNvSpPr txBox="1"/>
          <p:nvPr/>
        </p:nvSpPr>
        <p:spPr>
          <a:xfrm>
            <a:off x="541561" y="278495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标签</a:t>
            </a:r>
          </a:p>
        </p:txBody>
      </p:sp>
      <p:sp>
        <p:nvSpPr>
          <p:cNvPr id="16" name="文本框 5"/>
          <p:cNvSpPr txBox="1"/>
          <p:nvPr/>
        </p:nvSpPr>
        <p:spPr>
          <a:xfrm>
            <a:off x="2302204" y="150301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</a:t>
            </a:r>
          </a:p>
        </p:txBody>
      </p:sp>
      <p:sp>
        <p:nvSpPr>
          <p:cNvPr id="22" name="矩形 7"/>
          <p:cNvSpPr/>
          <p:nvPr/>
        </p:nvSpPr>
        <p:spPr>
          <a:xfrm>
            <a:off x="2194557" y="2264229"/>
            <a:ext cx="862148" cy="7141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9"/>
          <p:cNvSpPr/>
          <p:nvPr/>
        </p:nvSpPr>
        <p:spPr>
          <a:xfrm>
            <a:off x="2168432" y="2220686"/>
            <a:ext cx="923108" cy="1567543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25" name="表格 11"/>
          <p:cNvGraphicFramePr>
            <a:graphicFrameLocks noGrp="1"/>
          </p:cNvGraphicFramePr>
          <p:nvPr/>
        </p:nvGraphicFramePr>
        <p:xfrm>
          <a:off x="5509052" y="1872773"/>
          <a:ext cx="2699655" cy="18897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9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98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98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7882">
                <a:tc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0</a:t>
                      </a:r>
                      <a:endParaRPr lang="zh-CN" alt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09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True</a:t>
                      </a:r>
                      <a:r>
                        <a:rPr lang="en-US" altLang="zh-CN" sz="1400" baseline="0" dirty="0"/>
                        <a:t> Positive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False </a:t>
                      </a:r>
                      <a:r>
                        <a:rPr lang="en-US" altLang="zh-CN" sz="1400" baseline="0" dirty="0"/>
                        <a:t>Negative</a:t>
                      </a:r>
                      <a:endParaRPr lang="zh-CN" alt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09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0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False Positive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True Negative</a:t>
                      </a:r>
                      <a:endParaRPr lang="zh-CN" alt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6" name="文本框 12"/>
          <p:cNvSpPr txBox="1"/>
          <p:nvPr/>
        </p:nvSpPr>
        <p:spPr>
          <a:xfrm>
            <a:off x="4772294" y="2784956"/>
            <a:ext cx="6399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标签</a:t>
            </a:r>
          </a:p>
        </p:txBody>
      </p:sp>
      <p:sp>
        <p:nvSpPr>
          <p:cNvPr id="27" name="文本框 13"/>
          <p:cNvSpPr txBox="1"/>
          <p:nvPr/>
        </p:nvSpPr>
        <p:spPr>
          <a:xfrm>
            <a:off x="6536112" y="150301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</a:t>
            </a:r>
          </a:p>
        </p:txBody>
      </p:sp>
      <p:sp>
        <p:nvSpPr>
          <p:cNvPr id="29" name="矩形 15"/>
          <p:cNvSpPr/>
          <p:nvPr/>
        </p:nvSpPr>
        <p:spPr>
          <a:xfrm>
            <a:off x="6425290" y="2264229"/>
            <a:ext cx="862148" cy="7141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16"/>
          <p:cNvSpPr/>
          <p:nvPr/>
        </p:nvSpPr>
        <p:spPr>
          <a:xfrm>
            <a:off x="6399164" y="2220686"/>
            <a:ext cx="1830435" cy="809897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占位符 3"/>
          <p:cNvSpPr txBox="1"/>
          <p:nvPr/>
        </p:nvSpPr>
        <p:spPr>
          <a:xfrm>
            <a:off x="541561" y="4144338"/>
            <a:ext cx="2629224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精确率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Precision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541561" y="4821382"/>
                <a:ext cx="3436413" cy="12115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预测为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样本中标签为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比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</a:rPr>
                        <m:t>Prec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TP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TP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FP</m:t>
                          </m:r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561" y="4821382"/>
                <a:ext cx="3436413" cy="1211550"/>
              </a:xfrm>
              <a:prstGeom prst="rect">
                <a:avLst/>
              </a:prstGeom>
              <a:blipFill rotWithShape="1">
                <a:blip r:embed="rId5"/>
                <a:stretch>
                  <a:fillRect l="-709" t="-301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33" name="文本占位符 3"/>
          <p:cNvSpPr txBox="1"/>
          <p:nvPr/>
        </p:nvSpPr>
        <p:spPr>
          <a:xfrm>
            <a:off x="5035062" y="4139726"/>
            <a:ext cx="2629224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召回率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Recall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/>
              <p:cNvSpPr txBox="1"/>
              <p:nvPr/>
            </p:nvSpPr>
            <p:spPr>
              <a:xfrm>
                <a:off x="5035062" y="4816770"/>
                <a:ext cx="3436413" cy="14464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标签为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样本中预测为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比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just"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altLang="zh-CN" kern="100">
                          <a:latin typeface="Cambria Math" panose="02040503050406030204" pitchFamily="18" charset="0"/>
                          <a:ea typeface="等线" panose="02010600030101010101" pitchFamily="2" charset="-122"/>
                          <a:cs typeface="Times New Roman" panose="02020603050405020304" pitchFamily="18" charset="0"/>
                        </a:rPr>
                        <m:t>Rec</m:t>
                      </m:r>
                      <m:r>
                        <a:rPr lang="en-US" altLang="zh-CN" i="1" kern="100">
                          <a:latin typeface="Cambria Math" panose="02040503050406030204" pitchFamily="18" charset="0"/>
                          <a:ea typeface="等线" panose="02010600030101010101" pitchFamily="2" charset="-122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zh-CN" i="1" kern="10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en-US" altLang="zh-CN" kern="100"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TP</m:t>
                          </m:r>
                        </m:num>
                        <m:den>
                          <m:r>
                            <m:rPr>
                              <m:nor/>
                            </m:rPr>
                            <a:rPr lang="en-US" altLang="zh-CN" kern="100"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TP</m:t>
                          </m:r>
                          <m:r>
                            <a:rPr lang="en-US" altLang="zh-CN" i="1" kern="100"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+</m:t>
                          </m:r>
                          <m:r>
                            <m:rPr>
                              <m:nor/>
                            </m:rPr>
                            <a:rPr lang="en-US" altLang="zh-CN" kern="100"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FN</m:t>
                          </m:r>
                        </m:den>
                      </m:f>
                    </m:oMath>
                  </m:oMathPara>
                </a14:m>
                <a:endParaRPr lang="zh-CN" altLang="zh-CN" kern="100" dirty="0"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buClr>
                    <a:schemeClr val="accent1"/>
                  </a:buClr>
                  <a:buSzPct val="88000"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4" name="TextBox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5062" y="4816770"/>
                <a:ext cx="3436413" cy="1446486"/>
              </a:xfrm>
              <a:prstGeom prst="rect">
                <a:avLst/>
              </a:prstGeom>
              <a:blipFill rotWithShape="1">
                <a:blip r:embed="rId6"/>
                <a:stretch>
                  <a:fillRect l="-709" t="-211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cxnSp>
        <p:nvCxnSpPr>
          <p:cNvPr id="6" name="直接连接符 5"/>
          <p:cNvCxnSpPr/>
          <p:nvPr/>
        </p:nvCxnSpPr>
        <p:spPr>
          <a:xfrm>
            <a:off x="4495165" y="1028700"/>
            <a:ext cx="0" cy="5828665"/>
          </a:xfrm>
          <a:prstGeom prst="line">
            <a:avLst/>
          </a:prstGeom>
          <a:ln cmpd="dbl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评估指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1</a:t>
            </a:fld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493206" y="1042793"/>
                <a:ext cx="8137922" cy="5510407"/>
              </a:xfrm>
              <a:prstGeom prst="rect">
                <a:avLst/>
              </a:prstGeom>
            </p:spPr>
            <p:txBody>
              <a:bodyPr vert="horz" lIns="91440" tIns="45720" rIns="91440" bIns="45720" numCol="3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精确率和召回率的权衡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acc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</m:e>
                      </m:acc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=</m:t>
                      </m:r>
                      <m:d>
                        <m:dPr>
                          <m:begChr m:val="{"/>
                          <m:endChr m:val="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eqArr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,          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𝑦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=1</m:t>
                                  </m:r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&gt;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h</m:t>
                              </m:r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&amp;0,                      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otherwise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阈值越高，精确率越高，召回率越低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极端情况：阈值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=0.99</a:t>
                </a:r>
              </a:p>
              <a:p>
                <a:pPr lvl="1"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阈值越低，精确率越低，召回率越高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极端情况：阈值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=0</a:t>
                </a: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2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F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 algn="ctr">
                  <a:lnSpc>
                    <a:spcPct val="120000"/>
                  </a:lnSpc>
                  <a:buNone/>
                </a:pPr>
                <a:r>
                  <a:rPr lang="en-US" altLang="zh-CN" sz="2100" dirty="0">
                    <a:latin typeface="Cambria" panose="02040503050406030204" pitchFamily="18" charset="0"/>
                    <a:ea typeface="Cambria" panose="02040503050406030204" pitchFamily="18" charset="0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altLang="zh-CN">
                        <a:latin typeface="Cambria" panose="02040503050406030204" pitchFamily="18" charset="0"/>
                        <a:ea typeface="Cambria" panose="02040503050406030204" pitchFamily="18" charset="0"/>
                        <a:cs typeface="阿里巴巴普惠体 R" panose="00020600040101010101" pitchFamily="18" charset="-122"/>
                      </a:rPr>
                      <m:t>F</m:t>
                    </m:r>
                    <m:r>
                      <a:rPr lang="en-US" altLang="zh-CN">
                        <a:latin typeface="Cambria Math" panose="02040503050406030204" pitchFamily="18" charset="0"/>
                        <a:ea typeface="Cambria" panose="02040503050406030204" pitchFamily="18" charset="0"/>
                        <a:cs typeface="阿里巴巴普惠体 R" panose="00020600040101010101" pitchFamily="18" charset="-122"/>
                      </a:rPr>
                      <m:t>1=</m:t>
                    </m:r>
                    <m:f>
                      <m:fPr>
                        <m:ctrlPr>
                          <a:rPr lang="zh-CN" altLang="zh-CN" i="1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阿里巴巴普惠体 R" panose="00020600040101010101" pitchFamily="18" charset="-122"/>
                          </a:rPr>
                          <m:t>2×</m:t>
                        </m:r>
                        <m:r>
                          <m:rPr>
                            <m:nor/>
                          </m:rPr>
                          <a:rPr lang="en-US" altLang="zh-CN">
                            <a:latin typeface="Cambria" panose="02040503050406030204" pitchFamily="18" charset="0"/>
                            <a:ea typeface="Cambria" panose="02040503050406030204" pitchFamily="18" charset="0"/>
                            <a:cs typeface="阿里巴巴普惠体 R" panose="00020600040101010101" pitchFamily="18" charset="-122"/>
                          </a:rPr>
                          <m:t>Precision</m:t>
                        </m:r>
                        <m:r>
                          <a:rPr lang="en-US" altLang="zh-CN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阿里巴巴普惠体 R" panose="00020600040101010101" pitchFamily="18" charset="-122"/>
                          </a:rPr>
                          <m:t>×</m:t>
                        </m:r>
                        <m:r>
                          <m:rPr>
                            <m:nor/>
                          </m:rPr>
                          <a:rPr lang="en-US" altLang="zh-CN">
                            <a:latin typeface="Cambria" panose="02040503050406030204" pitchFamily="18" charset="0"/>
                            <a:ea typeface="Cambria" panose="02040503050406030204" pitchFamily="18" charset="0"/>
                            <a:cs typeface="阿里巴巴普惠体 R" panose="00020600040101010101" pitchFamily="18" charset="-122"/>
                          </a:rPr>
                          <m:t>Recall</m:t>
                        </m:r>
                      </m:num>
                      <m:den>
                        <m:r>
                          <m:rPr>
                            <m:nor/>
                          </m:rPr>
                          <a:rPr lang="en-US" altLang="zh-CN">
                            <a:latin typeface="Cambria" panose="02040503050406030204" pitchFamily="18" charset="0"/>
                            <a:ea typeface="Cambria" panose="02040503050406030204" pitchFamily="18" charset="0"/>
                            <a:cs typeface="阿里巴巴普惠体 R" panose="00020600040101010101" pitchFamily="18" charset="-122"/>
                          </a:rPr>
                          <m:t>Precision</m:t>
                        </m:r>
                        <m:r>
                          <a:rPr lang="en-US" altLang="zh-CN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m:rPr>
                            <m:nor/>
                          </m:rPr>
                          <a:rPr lang="en-US" altLang="zh-CN">
                            <a:latin typeface="Cambria" panose="02040503050406030204" pitchFamily="18" charset="0"/>
                            <a:ea typeface="Cambria" panose="02040503050406030204" pitchFamily="18" charset="0"/>
                            <a:cs typeface="阿里巴巴普惠体 R" panose="00020600040101010101" pitchFamily="18" charset="-122"/>
                          </a:rPr>
                          <m:t>Recall</m:t>
                        </m:r>
                      </m:den>
                    </m:f>
                  </m:oMath>
                </a14:m>
                <a:endParaRPr lang="zh-CN" altLang="zh-CN" dirty="0">
                  <a:latin typeface="Cambria" panose="02040503050406030204" pitchFamily="18" charset="0"/>
                  <a:ea typeface="Cambria" panose="02040503050406030204" pitchFamily="18" charset="0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206" y="1042793"/>
                <a:ext cx="8137922" cy="5510407"/>
              </a:xfrm>
              <a:prstGeom prst="rect">
                <a:avLst/>
              </a:prstGeom>
              <a:blipFill>
                <a:blip r:embed="rId3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Picture 2" descr="Image result for precision recall 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5011" y="1724890"/>
            <a:ext cx="2495550" cy="2181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评估指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2</a:t>
            </a:fld>
            <a:endParaRPr lang="zh-CN" altLang="en-US" dirty="0"/>
          </a:p>
        </p:txBody>
      </p:sp>
      <p:sp>
        <p:nvSpPr>
          <p:cNvPr id="8" name="内容占位符 2"/>
          <p:cNvSpPr txBox="1"/>
          <p:nvPr/>
        </p:nvSpPr>
        <p:spPr>
          <a:xfrm>
            <a:off x="562252" y="1255911"/>
            <a:ext cx="8068876" cy="939168"/>
          </a:xfrm>
          <a:prstGeom prst="rect">
            <a:avLst/>
          </a:prstGeom>
        </p:spPr>
        <p:txBody>
          <a:bodyPr vert="horz" lIns="91440" tIns="45720" rIns="91440" bIns="45720" numCol="1" rtlCol="0" anchor="t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排序的度量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O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曲线下面积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U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2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7" name="Picture 2" descr="Image result for area under roc 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610" y="1915929"/>
            <a:ext cx="5696713" cy="4308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评估指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3</a:t>
            </a:fld>
            <a:endParaRPr lang="zh-CN" altLang="en-US" dirty="0"/>
          </a:p>
        </p:txBody>
      </p:sp>
      <p:sp>
        <p:nvSpPr>
          <p:cNvPr id="8" name="内容占位符 2"/>
          <p:cNvSpPr txBox="1"/>
          <p:nvPr/>
        </p:nvSpPr>
        <p:spPr>
          <a:xfrm>
            <a:off x="562252" y="1255911"/>
            <a:ext cx="8068876" cy="939168"/>
          </a:xfrm>
          <a:prstGeom prst="rect">
            <a:avLst/>
          </a:prstGeom>
        </p:spPr>
        <p:txBody>
          <a:bodyPr vert="horz" lIns="91440" tIns="45720" rIns="91440" bIns="45720" numCol="1" rtlCol="0" anchor="t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排序的度量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O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曲线下面积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U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2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9" name="Picture 2" descr="Image result for area under roc 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610" y="1912985"/>
            <a:ext cx="5696713" cy="4308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组合 19"/>
          <p:cNvGrpSpPr/>
          <p:nvPr/>
        </p:nvGrpSpPr>
        <p:grpSpPr>
          <a:xfrm>
            <a:off x="2152650" y="2254253"/>
            <a:ext cx="4699000" cy="3530601"/>
            <a:chOff x="2152650" y="2457450"/>
            <a:chExt cx="4699000" cy="3530601"/>
          </a:xfrm>
        </p:grpSpPr>
        <p:cxnSp>
          <p:nvCxnSpPr>
            <p:cNvPr id="11" name="直接连接符 13"/>
            <p:cNvCxnSpPr/>
            <p:nvPr/>
          </p:nvCxnSpPr>
          <p:spPr>
            <a:xfrm flipV="1">
              <a:off x="2184400" y="2457450"/>
              <a:ext cx="0" cy="3530601"/>
            </a:xfrm>
            <a:prstGeom prst="line">
              <a:avLst/>
            </a:prstGeom>
            <a:ln w="7620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" name="直接连接符 16"/>
            <p:cNvCxnSpPr/>
            <p:nvPr/>
          </p:nvCxnSpPr>
          <p:spPr>
            <a:xfrm flipH="1">
              <a:off x="2152650" y="2496345"/>
              <a:ext cx="4699000" cy="0"/>
            </a:xfrm>
            <a:prstGeom prst="line">
              <a:avLst/>
            </a:prstGeom>
            <a:ln w="7620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3" name="文本框 3"/>
          <p:cNvSpPr txBox="1"/>
          <p:nvPr/>
        </p:nvSpPr>
        <p:spPr>
          <a:xfrm>
            <a:off x="506099" y="2404223"/>
            <a:ext cx="10951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完美预测</a:t>
            </a:r>
            <a:endParaRPr lang="en-US" altLang="zh-CN" dirty="0">
              <a:solidFill>
                <a:srgbClr val="FF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algn="ctr"/>
            <a:r>
              <a:rPr lang="en-US" altLang="zh-CN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UC=1</a:t>
            </a:r>
          </a:p>
        </p:txBody>
      </p:sp>
      <p:cxnSp>
        <p:nvCxnSpPr>
          <p:cNvPr id="14" name="直接箭头连接符 5"/>
          <p:cNvCxnSpPr/>
          <p:nvPr/>
        </p:nvCxnSpPr>
        <p:spPr>
          <a:xfrm flipV="1">
            <a:off x="1606550" y="2727348"/>
            <a:ext cx="546100" cy="380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文本框 10"/>
          <p:cNvSpPr txBox="1"/>
          <p:nvPr/>
        </p:nvSpPr>
        <p:spPr>
          <a:xfrm>
            <a:off x="7119575" y="3352794"/>
            <a:ext cx="10979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预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algn="ctr"/>
            <a:r>
              <a:rPr lang="en-US" altLang="zh-CN" dirty="0">
                <a:latin typeface="Alibaba PuHuiTi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UC = 0.5</a:t>
            </a:r>
            <a:endParaRPr lang="zh-CN" altLang="en-US" dirty="0">
              <a:latin typeface="Alibaba PuHuiTi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16" name="直接箭头连接符 11"/>
          <p:cNvCxnSpPr/>
          <p:nvPr/>
        </p:nvCxnSpPr>
        <p:spPr>
          <a:xfrm flipH="1">
            <a:off x="5010150" y="3675919"/>
            <a:ext cx="206850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评估指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4</a:t>
            </a:fld>
            <a:endParaRPr lang="zh-CN" altLang="en-US" dirty="0"/>
          </a:p>
        </p:txBody>
      </p:sp>
      <p:sp>
        <p:nvSpPr>
          <p:cNvPr id="8" name="内容占位符 2"/>
          <p:cNvSpPr txBox="1"/>
          <p:nvPr/>
        </p:nvSpPr>
        <p:spPr>
          <a:xfrm>
            <a:off x="562252" y="1255911"/>
            <a:ext cx="8068876" cy="939168"/>
          </a:xfrm>
          <a:prstGeom prst="rect">
            <a:avLst/>
          </a:prstGeom>
        </p:spPr>
        <p:txBody>
          <a:bodyPr vert="horz" lIns="91440" tIns="45720" rIns="91440" bIns="45720" numCol="1" rtlCol="0" anchor="t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U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计算例子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2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17" name="直接连接符 66"/>
          <p:cNvCxnSpPr>
            <a:endCxn id="38" idx="3"/>
          </p:cNvCxnSpPr>
          <p:nvPr/>
        </p:nvCxnSpPr>
        <p:spPr>
          <a:xfrm flipH="1">
            <a:off x="1860111" y="3269922"/>
            <a:ext cx="698543" cy="2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直接连接符 61"/>
          <p:cNvCxnSpPr/>
          <p:nvPr/>
        </p:nvCxnSpPr>
        <p:spPr>
          <a:xfrm flipV="1">
            <a:off x="2558654" y="4416465"/>
            <a:ext cx="2950" cy="627976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直接箭头连接符 6"/>
          <p:cNvCxnSpPr/>
          <p:nvPr/>
        </p:nvCxnSpPr>
        <p:spPr>
          <a:xfrm>
            <a:off x="1859280" y="5044440"/>
            <a:ext cx="2898458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1"/>
          <p:cNvCxnSpPr/>
          <p:nvPr/>
        </p:nvCxnSpPr>
        <p:spPr>
          <a:xfrm flipV="1">
            <a:off x="1859280" y="2451100"/>
            <a:ext cx="0" cy="259334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12"/>
          <p:cNvSpPr txBox="1"/>
          <p:nvPr/>
        </p:nvSpPr>
        <p:spPr>
          <a:xfrm>
            <a:off x="2671505" y="538297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假阳性率</a:t>
            </a:r>
          </a:p>
        </p:txBody>
      </p:sp>
      <p:sp>
        <p:nvSpPr>
          <p:cNvPr id="22" name="文本框 17"/>
          <p:cNvSpPr txBox="1"/>
          <p:nvPr/>
        </p:nvSpPr>
        <p:spPr>
          <a:xfrm>
            <a:off x="360102" y="364025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真阳性率</a:t>
            </a:r>
          </a:p>
        </p:txBody>
      </p:sp>
      <p:graphicFrame>
        <p:nvGraphicFramePr>
          <p:cNvPr id="23" name="表格 14"/>
          <p:cNvGraphicFramePr>
            <a:graphicFrameLocks noGrp="1"/>
          </p:cNvGraphicFramePr>
          <p:nvPr/>
        </p:nvGraphicFramePr>
        <p:xfrm>
          <a:off x="5846855" y="2156143"/>
          <a:ext cx="237744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Prediction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Label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9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8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6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4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4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3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cxnSp>
        <p:nvCxnSpPr>
          <p:cNvPr id="24" name="直接连接符 18"/>
          <p:cNvCxnSpPr/>
          <p:nvPr/>
        </p:nvCxnSpPr>
        <p:spPr>
          <a:xfrm>
            <a:off x="1859280" y="3808095"/>
            <a:ext cx="60960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1"/>
          <p:cNvCxnSpPr/>
          <p:nvPr/>
        </p:nvCxnSpPr>
        <p:spPr>
          <a:xfrm>
            <a:off x="1868170" y="2673072"/>
            <a:ext cx="60960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2"/>
          <p:cNvCxnSpPr/>
          <p:nvPr/>
        </p:nvCxnSpPr>
        <p:spPr>
          <a:xfrm flipV="1">
            <a:off x="2546262" y="4957763"/>
            <a:ext cx="953" cy="8667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5"/>
          <p:cNvCxnSpPr/>
          <p:nvPr/>
        </p:nvCxnSpPr>
        <p:spPr>
          <a:xfrm flipV="1">
            <a:off x="3227072" y="4957763"/>
            <a:ext cx="953" cy="8667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 flipV="1">
            <a:off x="3837251" y="4957763"/>
            <a:ext cx="953" cy="8667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" name="文本框 30"/>
          <p:cNvSpPr txBox="1"/>
          <p:nvPr/>
        </p:nvSpPr>
        <p:spPr>
          <a:xfrm>
            <a:off x="2316479" y="5065515"/>
            <a:ext cx="5036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0.25</a:t>
            </a:r>
            <a:endParaRPr lang="zh-CN" altLang="en-US" sz="1400" dirty="0"/>
          </a:p>
        </p:txBody>
      </p:sp>
      <p:sp>
        <p:nvSpPr>
          <p:cNvPr id="30" name="文本框 31"/>
          <p:cNvSpPr txBox="1"/>
          <p:nvPr/>
        </p:nvSpPr>
        <p:spPr>
          <a:xfrm>
            <a:off x="3020926" y="5065515"/>
            <a:ext cx="4122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0.5</a:t>
            </a:r>
            <a:endParaRPr lang="zh-CN" altLang="en-US" sz="1400" dirty="0"/>
          </a:p>
        </p:txBody>
      </p:sp>
      <p:sp>
        <p:nvSpPr>
          <p:cNvPr id="31" name="文本框 32"/>
          <p:cNvSpPr txBox="1"/>
          <p:nvPr/>
        </p:nvSpPr>
        <p:spPr>
          <a:xfrm>
            <a:off x="3600177" y="5065515"/>
            <a:ext cx="5036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0.75</a:t>
            </a:r>
            <a:endParaRPr lang="zh-CN" altLang="en-US" sz="1400" dirty="0"/>
          </a:p>
        </p:txBody>
      </p:sp>
      <p:sp>
        <p:nvSpPr>
          <p:cNvPr id="32" name="文本框 33"/>
          <p:cNvSpPr txBox="1"/>
          <p:nvPr/>
        </p:nvSpPr>
        <p:spPr>
          <a:xfrm>
            <a:off x="4245818" y="5065515"/>
            <a:ext cx="4122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1.0</a:t>
            </a:r>
            <a:endParaRPr lang="zh-CN" altLang="en-US" sz="1400" dirty="0"/>
          </a:p>
        </p:txBody>
      </p:sp>
      <p:sp>
        <p:nvSpPr>
          <p:cNvPr id="33" name="文本框 34"/>
          <p:cNvSpPr txBox="1"/>
          <p:nvPr/>
        </p:nvSpPr>
        <p:spPr>
          <a:xfrm>
            <a:off x="1444869" y="3671035"/>
            <a:ext cx="4122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0.5</a:t>
            </a:r>
            <a:endParaRPr lang="zh-CN" altLang="en-US" sz="1400" dirty="0"/>
          </a:p>
        </p:txBody>
      </p:sp>
      <p:sp>
        <p:nvSpPr>
          <p:cNvPr id="34" name="文本框 35"/>
          <p:cNvSpPr txBox="1"/>
          <p:nvPr/>
        </p:nvSpPr>
        <p:spPr>
          <a:xfrm>
            <a:off x="1444869" y="2526156"/>
            <a:ext cx="4122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1.0</a:t>
            </a:r>
            <a:endParaRPr lang="zh-CN" altLang="en-US" sz="1400" dirty="0"/>
          </a:p>
        </p:txBody>
      </p:sp>
      <p:cxnSp>
        <p:nvCxnSpPr>
          <p:cNvPr id="35" name="直接连接符 45058"/>
          <p:cNvCxnSpPr/>
          <p:nvPr/>
        </p:nvCxnSpPr>
        <p:spPr>
          <a:xfrm flipV="1">
            <a:off x="1872196" y="4416465"/>
            <a:ext cx="2950" cy="627976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直接连接符 41"/>
          <p:cNvCxnSpPr/>
          <p:nvPr/>
        </p:nvCxnSpPr>
        <p:spPr>
          <a:xfrm>
            <a:off x="1859280" y="3271520"/>
            <a:ext cx="60960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42"/>
          <p:cNvCxnSpPr/>
          <p:nvPr/>
        </p:nvCxnSpPr>
        <p:spPr>
          <a:xfrm>
            <a:off x="1859280" y="4426267"/>
            <a:ext cx="60960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8" name="文本框 43"/>
          <p:cNvSpPr txBox="1"/>
          <p:nvPr/>
        </p:nvSpPr>
        <p:spPr>
          <a:xfrm>
            <a:off x="1356447" y="3116035"/>
            <a:ext cx="5036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0.75</a:t>
            </a:r>
            <a:endParaRPr lang="zh-CN" altLang="en-US" sz="1400" dirty="0"/>
          </a:p>
        </p:txBody>
      </p:sp>
      <p:sp>
        <p:nvSpPr>
          <p:cNvPr id="39" name="文本框 44"/>
          <p:cNvSpPr txBox="1"/>
          <p:nvPr/>
        </p:nvSpPr>
        <p:spPr>
          <a:xfrm>
            <a:off x="1356447" y="4262576"/>
            <a:ext cx="5036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0.25</a:t>
            </a:r>
            <a:endParaRPr lang="zh-CN" altLang="en-US" sz="1400" dirty="0"/>
          </a:p>
        </p:txBody>
      </p:sp>
      <p:cxnSp>
        <p:nvCxnSpPr>
          <p:cNvPr id="40" name="直接连接符 45"/>
          <p:cNvCxnSpPr/>
          <p:nvPr/>
        </p:nvCxnSpPr>
        <p:spPr>
          <a:xfrm flipV="1">
            <a:off x="4451964" y="4957763"/>
            <a:ext cx="953" cy="8667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47"/>
          <p:cNvCxnSpPr>
            <a:stCxn id="39" idx="3"/>
          </p:cNvCxnSpPr>
          <p:nvPr/>
        </p:nvCxnSpPr>
        <p:spPr>
          <a:xfrm>
            <a:off x="1860111" y="4416465"/>
            <a:ext cx="684166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2" name="直接连接符 49"/>
          <p:cNvCxnSpPr/>
          <p:nvPr/>
        </p:nvCxnSpPr>
        <p:spPr>
          <a:xfrm flipV="1">
            <a:off x="2541327" y="3269924"/>
            <a:ext cx="0" cy="1165551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直接连接符 51"/>
          <p:cNvCxnSpPr/>
          <p:nvPr/>
        </p:nvCxnSpPr>
        <p:spPr>
          <a:xfrm>
            <a:off x="2521744" y="3269923"/>
            <a:ext cx="703749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4" name="直接连接符 57"/>
          <p:cNvCxnSpPr/>
          <p:nvPr/>
        </p:nvCxnSpPr>
        <p:spPr>
          <a:xfrm flipV="1">
            <a:off x="3208257" y="2641947"/>
            <a:ext cx="2950" cy="627976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5" name="直接连接符 59"/>
          <p:cNvCxnSpPr/>
          <p:nvPr/>
        </p:nvCxnSpPr>
        <p:spPr>
          <a:xfrm>
            <a:off x="3208257" y="2660045"/>
            <a:ext cx="1243707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6" name="直接连接符 63"/>
          <p:cNvCxnSpPr/>
          <p:nvPr/>
        </p:nvCxnSpPr>
        <p:spPr>
          <a:xfrm flipV="1">
            <a:off x="3225596" y="3269923"/>
            <a:ext cx="0" cy="1774519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7" name="直接连接符 68"/>
          <p:cNvCxnSpPr/>
          <p:nvPr/>
        </p:nvCxnSpPr>
        <p:spPr>
          <a:xfrm flipH="1">
            <a:off x="1860112" y="2674193"/>
            <a:ext cx="1345195" cy="0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直接连接符 70"/>
          <p:cNvCxnSpPr/>
          <p:nvPr/>
        </p:nvCxnSpPr>
        <p:spPr>
          <a:xfrm flipV="1">
            <a:off x="4451964" y="2680044"/>
            <a:ext cx="0" cy="2364399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文本框 72"/>
          <p:cNvSpPr txBox="1"/>
          <p:nvPr/>
        </p:nvSpPr>
        <p:spPr>
          <a:xfrm>
            <a:off x="2601942" y="5871094"/>
            <a:ext cx="1215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AUC = 0.75</a:t>
            </a:r>
            <a:endParaRPr lang="zh-CN" altLang="en-US" dirty="0"/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逻辑斯谛回归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6</a:t>
            </a:fld>
            <a:endParaRPr lang="zh-CN" altLang="en-US" dirty="0"/>
          </a:p>
        </p:txBody>
      </p:sp>
      <p:sp>
        <p:nvSpPr>
          <p:cNvPr id="11" name="文本占位符 1"/>
          <p:cNvSpPr>
            <a:spLocks noGrp="1"/>
          </p:cNvSpPr>
          <p:nvPr>
            <p:ph type="body" idx="1"/>
          </p:nvPr>
        </p:nvSpPr>
        <p:spPr>
          <a:xfrm>
            <a:off x="5199300" y="2036916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二分类</a:t>
            </a:r>
          </a:p>
        </p:txBody>
      </p:sp>
      <p:sp>
        <p:nvSpPr>
          <p:cNvPr id="12" name="文本占位符 2"/>
          <p:cNvSpPr>
            <a:spLocks noGrp="1"/>
          </p:cNvSpPr>
          <p:nvPr>
            <p:ph type="body" idx="12"/>
          </p:nvPr>
        </p:nvSpPr>
        <p:spPr>
          <a:xfrm>
            <a:off x="4428196" y="2002626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idx="13"/>
          </p:nvPr>
        </p:nvSpPr>
        <p:spPr>
          <a:xfrm>
            <a:off x="5199300" y="2815617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多分类</a:t>
            </a:r>
          </a:p>
        </p:txBody>
      </p:sp>
      <p:sp>
        <p:nvSpPr>
          <p:cNvPr id="14" name="文本占位符 4"/>
          <p:cNvSpPr>
            <a:spLocks noGrp="1"/>
          </p:cNvSpPr>
          <p:nvPr>
            <p:ph type="body" idx="14"/>
          </p:nvPr>
        </p:nvSpPr>
        <p:spPr>
          <a:xfrm>
            <a:off x="4428196" y="2781327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57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二分类</a:t>
            </a: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分类问题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8</a:t>
            </a:fld>
            <a:endParaRPr lang="zh-CN" altLang="en-US" dirty="0"/>
          </a:p>
        </p:txBody>
      </p:sp>
      <p:sp>
        <p:nvSpPr>
          <p:cNvPr id="5" name="文本占位符 3"/>
          <p:cNvSpPr txBox="1"/>
          <p:nvPr/>
        </p:nvSpPr>
        <p:spPr>
          <a:xfrm>
            <a:off x="502445" y="1374739"/>
            <a:ext cx="1113920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给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2021854"/>
                <a:ext cx="8137922" cy="149027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样本空间</a:t>
                </a:r>
                <a14:m>
                  <m:oMath xmlns:m="http://schemas.openxmlformats.org/officeDocument/2006/math"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𝕏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一个样本</a:t>
                </a:r>
                <a14:m>
                  <m:oMath xmlns:m="http://schemas.openxmlformats.org/officeDocument/2006/math"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(</m:t>
                    </m:r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</m:t>
                    </m:r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𝕏</m:t>
                    </m:r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描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个固定的类别集：</a:t>
                </a:r>
                <a14:m>
                  <m:oMath xmlns:m="http://schemas.openxmlformats.org/officeDocument/2006/math"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𝐶</m:t>
                    </m:r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{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𝑐</m:t>
                        </m:r>
                      </m:e>
                      <m:sub>
                        <m: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𝑐</m:t>
                        </m:r>
                      </m:e>
                      <m:sub>
                        <m: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⋯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𝑐</m:t>
                        </m:r>
                      </m:e>
                      <m:sub>
                        <m: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</m:t>
                        </m:r>
                      </m:sub>
                    </m:sSub>
                    <m: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}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2021854"/>
                <a:ext cx="8137922" cy="1490273"/>
              </a:xfrm>
              <a:prstGeom prst="rect">
                <a:avLst/>
              </a:prstGeom>
              <a:blipFill>
                <a:blip r:embed="rId5"/>
                <a:stretch>
                  <a:fillRect l="-449" t="-2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占位符 3"/>
          <p:cNvSpPr txBox="1"/>
          <p:nvPr/>
        </p:nvSpPr>
        <p:spPr>
          <a:xfrm>
            <a:off x="502442" y="3183450"/>
            <a:ext cx="118197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求解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/>
              <p:cNvSpPr txBox="1">
                <a:spLocks/>
              </p:cNvSpPr>
              <p:nvPr/>
            </p:nvSpPr>
            <p:spPr>
              <a:xfrm>
                <a:off x="502442" y="3884461"/>
                <a:ext cx="8137922" cy="72509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类别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𝑓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𝐶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其中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𝑓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一个定义域为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𝕏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值域为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𝐶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类别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884461"/>
                <a:ext cx="8137922" cy="725096"/>
              </a:xfrm>
              <a:prstGeom prst="rect">
                <a:avLst/>
              </a:prstGeom>
              <a:blipFill>
                <a:blip r:embed="rId6"/>
                <a:stretch>
                  <a:fillRect l="-449" t="-4202" r="-7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02442" y="5272658"/>
                <a:ext cx="8137922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如类别集是二元的，即</a:t>
                </a:r>
                <a14:m>
                  <m:oMath xmlns:m="http://schemas.openxmlformats.org/officeDocument/2006/math">
                    <m:r>
                      <a:rPr lang="en-US" altLang="zh-CN" sz="200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𝐶</m:t>
                    </m:r>
                    <m:r>
                      <a:rPr lang="en-US" altLang="zh-CN" sz="200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{0,1}</m:t>
                    </m:r>
                  </m:oMath>
                </a14:m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{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错误，正确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}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{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负，正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})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那么这就是二分类问题</a:t>
                </a: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272658"/>
                <a:ext cx="8137922" cy="707886"/>
              </a:xfrm>
              <a:prstGeom prst="rect">
                <a:avLst/>
              </a:prstGeom>
              <a:blipFill>
                <a:blip r:embed="rId7"/>
                <a:stretch>
                  <a:fillRect l="-449" t="-5172" r="-524" b="-1465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文本占位符 3"/>
          <p:cNvSpPr txBox="1"/>
          <p:nvPr/>
        </p:nvSpPr>
        <p:spPr>
          <a:xfrm>
            <a:off x="502442" y="4576836"/>
            <a:ext cx="118197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二分类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>
            <a:extLst>
              <a:ext uri="{FF2B5EF4-FFF2-40B4-BE49-F238E27FC236}">
                <a16:creationId xmlns:a16="http://schemas.microsoft.com/office/drawing/2014/main" id="{217CB82A-EAAC-47F1-838B-EC4BD729E2BB}"/>
              </a:ext>
            </a:extLst>
          </p:cNvPr>
          <p:cNvSpPr/>
          <p:nvPr/>
        </p:nvSpPr>
        <p:spPr>
          <a:xfrm>
            <a:off x="1931672" y="4849185"/>
            <a:ext cx="4815840" cy="15976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二分类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9</a:t>
            </a:fld>
            <a:endParaRPr lang="zh-CN" altLang="en-US" dirty="0"/>
          </a:p>
        </p:txBody>
      </p:sp>
      <p:sp>
        <p:nvSpPr>
          <p:cNvPr id="10" name="内容占位符 2"/>
          <p:cNvSpPr txBox="1"/>
          <p:nvPr/>
        </p:nvSpPr>
        <p:spPr>
          <a:xfrm>
            <a:off x="1348741" y="4258794"/>
            <a:ext cx="2446020" cy="407511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1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30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9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zh-CN" altLang="en-US" sz="2000" dirty="0"/>
              <a:t>线性可分</a:t>
            </a:r>
          </a:p>
        </p:txBody>
      </p:sp>
      <p:sp>
        <p:nvSpPr>
          <p:cNvPr id="5" name="内容占位符 2"/>
          <p:cNvSpPr txBox="1"/>
          <p:nvPr/>
        </p:nvSpPr>
        <p:spPr>
          <a:xfrm>
            <a:off x="5017771" y="4258794"/>
            <a:ext cx="2446020" cy="461963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1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30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9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zh-CN" altLang="en-US" sz="2000" dirty="0"/>
              <a:t>线性不可分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2A02718-C29A-4A25-B135-9B36950069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8741" y="1839929"/>
            <a:ext cx="6202680" cy="230227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92790506-7D98-4397-A4D7-D26C0EACF126}"/>
                  </a:ext>
                </a:extLst>
              </p:cNvPr>
              <p:cNvSpPr txBox="1"/>
              <p:nvPr/>
            </p:nvSpPr>
            <p:spPr>
              <a:xfrm>
                <a:off x="3476959" y="3834720"/>
                <a:ext cx="287322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92790506-7D98-4397-A4D7-D26C0EACF1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76959" y="3834720"/>
                <a:ext cx="287322" cy="276999"/>
              </a:xfrm>
              <a:prstGeom prst="rect">
                <a:avLst/>
              </a:prstGeom>
              <a:blipFill>
                <a:blip r:embed="rId7"/>
                <a:stretch>
                  <a:fillRect l="-10417" r="-4167"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EE588552-9E12-4D85-ADEE-46A0AD185581}"/>
                  </a:ext>
                </a:extLst>
              </p:cNvPr>
              <p:cNvSpPr txBox="1"/>
              <p:nvPr/>
            </p:nvSpPr>
            <p:spPr>
              <a:xfrm>
                <a:off x="1328116" y="1562930"/>
                <a:ext cx="287322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EE588552-9E12-4D85-ADEE-46A0AD1855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8116" y="1562930"/>
                <a:ext cx="287322" cy="276999"/>
              </a:xfrm>
              <a:prstGeom prst="rect">
                <a:avLst/>
              </a:prstGeom>
              <a:blipFill>
                <a:blip r:embed="rId8"/>
                <a:stretch>
                  <a:fillRect l="-10638" r="-6383" b="-173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41614A11-D7CC-43D5-B74A-532C0DD45E20}"/>
                  </a:ext>
                </a:extLst>
              </p:cNvPr>
              <p:cNvSpPr txBox="1"/>
              <p:nvPr/>
            </p:nvSpPr>
            <p:spPr>
              <a:xfrm>
                <a:off x="7486651" y="3834720"/>
                <a:ext cx="287322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41614A11-D7CC-43D5-B74A-532C0DD45E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6651" y="3834720"/>
                <a:ext cx="287322" cy="276999"/>
              </a:xfrm>
              <a:prstGeom prst="rect">
                <a:avLst/>
              </a:prstGeom>
              <a:blipFill>
                <a:blip r:embed="rId9"/>
                <a:stretch>
                  <a:fillRect l="-10638" r="-6383"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7BD13272-200F-4586-8329-0C747F3FCD24}"/>
                  </a:ext>
                </a:extLst>
              </p:cNvPr>
              <p:cNvSpPr txBox="1"/>
              <p:nvPr/>
            </p:nvSpPr>
            <p:spPr>
              <a:xfrm>
                <a:off x="5017771" y="1562930"/>
                <a:ext cx="287322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7BD13272-200F-4586-8329-0C747F3FCD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17771" y="1562930"/>
                <a:ext cx="287322" cy="276999"/>
              </a:xfrm>
              <a:prstGeom prst="rect">
                <a:avLst/>
              </a:prstGeom>
              <a:blipFill>
                <a:blip r:embed="rId10"/>
                <a:stretch>
                  <a:fillRect l="-10638" r="-8511" b="-173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58BB11FB-3F39-495B-8D40-4ED778DF4442}"/>
                  </a:ext>
                </a:extLst>
              </p:cNvPr>
              <p:cNvSpPr txBox="1"/>
              <p:nvPr/>
            </p:nvSpPr>
            <p:spPr>
              <a:xfrm>
                <a:off x="4592172" y="5051531"/>
                <a:ext cx="1818941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𝑏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58BB11FB-3F39-495B-8D40-4ED778DF44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2172" y="5051531"/>
                <a:ext cx="1818941" cy="276999"/>
              </a:xfrm>
              <a:prstGeom prst="rect">
                <a:avLst/>
              </a:prstGeom>
              <a:blipFill>
                <a:blip r:embed="rId11"/>
                <a:stretch>
                  <a:fillRect l="-2341" r="-3679" b="-1777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内容占位符 2">
            <a:extLst>
              <a:ext uri="{FF2B5EF4-FFF2-40B4-BE49-F238E27FC236}">
                <a16:creationId xmlns:a16="http://schemas.microsoft.com/office/drawing/2014/main" id="{D6A863D0-006B-4761-934D-C166D3F4995A}"/>
              </a:ext>
            </a:extLst>
          </p:cNvPr>
          <p:cNvSpPr txBox="1"/>
          <p:nvPr/>
        </p:nvSpPr>
        <p:spPr>
          <a:xfrm>
            <a:off x="2030733" y="5077714"/>
            <a:ext cx="2446020" cy="407511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marL="171450" indent="-171450" algn="l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1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30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9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zh-CN" altLang="en-US" sz="2000" dirty="0"/>
              <a:t>线性可分性：是否存在</a:t>
            </a:r>
          </a:p>
        </p:txBody>
      </p:sp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F3F5D51D-490B-4880-8789-3F1A7581FD8A}"/>
              </a:ext>
            </a:extLst>
          </p:cNvPr>
          <p:cNvSpPr txBox="1"/>
          <p:nvPr/>
        </p:nvSpPr>
        <p:spPr>
          <a:xfrm>
            <a:off x="2030732" y="5489123"/>
            <a:ext cx="3047999" cy="407511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1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30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9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zh-CN" altLang="en-US" dirty="0"/>
              <a:t>使得对于所有的正例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4CCAB2EC-907D-460A-8FE5-9303A3868EAC}"/>
                  </a:ext>
                </a:extLst>
              </p:cNvPr>
              <p:cNvSpPr txBox="1"/>
              <p:nvPr/>
            </p:nvSpPr>
            <p:spPr>
              <a:xfrm>
                <a:off x="4592172" y="5485225"/>
                <a:ext cx="1818941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𝑏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&gt;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4CCAB2EC-907D-460A-8FE5-9303A3868E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2172" y="5485225"/>
                <a:ext cx="1818941" cy="276999"/>
              </a:xfrm>
              <a:prstGeom prst="rect">
                <a:avLst/>
              </a:prstGeom>
              <a:blipFill>
                <a:blip r:embed="rId12"/>
                <a:stretch>
                  <a:fillRect l="-2341" r="-3679" b="-1777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内容占位符 2">
            <a:extLst>
              <a:ext uri="{FF2B5EF4-FFF2-40B4-BE49-F238E27FC236}">
                <a16:creationId xmlns:a16="http://schemas.microsoft.com/office/drawing/2014/main" id="{302D645A-E784-4C87-89DC-C9D06B62459D}"/>
              </a:ext>
            </a:extLst>
          </p:cNvPr>
          <p:cNvSpPr txBox="1"/>
          <p:nvPr/>
        </p:nvSpPr>
        <p:spPr>
          <a:xfrm>
            <a:off x="2434592" y="5922817"/>
            <a:ext cx="2644139" cy="407511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1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30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9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zh-CN" altLang="en-US" dirty="0"/>
              <a:t>对于所有的负例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475A44E7-F965-4153-9BA5-75851027A0F3}"/>
                  </a:ext>
                </a:extLst>
              </p:cNvPr>
              <p:cNvSpPr txBox="1"/>
              <p:nvPr/>
            </p:nvSpPr>
            <p:spPr>
              <a:xfrm>
                <a:off x="4592172" y="5918919"/>
                <a:ext cx="1818941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𝑏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&lt;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475A44E7-F965-4153-9BA5-75851027A0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2172" y="5918919"/>
                <a:ext cx="1818941" cy="276999"/>
              </a:xfrm>
              <a:prstGeom prst="rect">
                <a:avLst/>
              </a:prstGeom>
              <a:blipFill>
                <a:blip r:embed="rId13"/>
                <a:stretch>
                  <a:fillRect l="-2341" r="-3679" b="-1777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回归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02443" y="1348507"/>
            <a:ext cx="81379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4480" indent="-284480"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二维的线性回归模型</a:t>
            </a:r>
          </a:p>
        </p:txBody>
      </p:sp>
      <p:pic>
        <p:nvPicPr>
          <p:cNvPr id="11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8928" y="2248416"/>
            <a:ext cx="4742857" cy="40952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3411154" y="1798461"/>
                <a:ext cx="303275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1154" y="1798461"/>
                <a:ext cx="3032753" cy="400110"/>
              </a:xfrm>
              <a:prstGeom prst="rect">
                <a:avLst/>
              </a:prstGeom>
              <a:blipFill>
                <a:blip r:embed="rId4"/>
                <a:stretch>
                  <a:fillRect b="-121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判别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0</a:t>
            </a:fld>
            <a:endParaRPr lang="zh-CN" altLang="en-US" dirty="0"/>
          </a:p>
        </p:txBody>
      </p:sp>
      <p:sp>
        <p:nvSpPr>
          <p:cNvPr id="5" name="文本占位符 3"/>
          <p:cNvSpPr txBox="1"/>
          <p:nvPr/>
        </p:nvSpPr>
        <p:spPr>
          <a:xfrm>
            <a:off x="502444" y="1374739"/>
            <a:ext cx="1367177" cy="43590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判别模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1938727"/>
                <a:ext cx="8137922" cy="237465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775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性质</a:t>
                </a:r>
                <a:r>
                  <a:rPr lang="en-US" altLang="zh-CN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</a:p>
              <a:p>
                <a:pPr lvl="1"/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建模预测变量和观测变量之间的关系</a:t>
                </a:r>
                <a:endParaRPr lang="en-US" altLang="zh-CN" sz="23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也称作条件模型</a:t>
                </a:r>
                <a:r>
                  <a:rPr lang="en-US" altLang="zh-CN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en-US" altLang="zh-CN" sz="23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onditional Models</a:t>
                </a:r>
                <a:r>
                  <a:rPr lang="en-US" altLang="zh-CN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</a:p>
              <a:p>
                <a:r>
                  <a:rPr lang="zh-CN" altLang="en-US" sz="2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类</a:t>
                </a:r>
                <a:endParaRPr lang="en-US" altLang="zh-CN" sz="2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判别模型：</a:t>
                </a:r>
                <a14:m>
                  <m:oMath xmlns:m="http://schemas.openxmlformats.org/officeDocument/2006/math"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sz="23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zh-CN" altLang="en-US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23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分类任务不可微分</a:t>
                </a:r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3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概率判别模型</a:t>
                </a:r>
                <a:r>
                  <a:rPr lang="zh-CN" altLang="en-US" sz="23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sz="23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sz="23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23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分类任务可微分</a:t>
                </a:r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938727"/>
                <a:ext cx="8137922" cy="2374655"/>
              </a:xfrm>
              <a:prstGeom prst="rect">
                <a:avLst/>
              </a:prstGeom>
              <a:blipFill>
                <a:blip r:embed="rId5"/>
                <a:stretch>
                  <a:fillRect l="-449" t="-3846" b="-230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占位符 3"/>
          <p:cNvSpPr txBox="1"/>
          <p:nvPr/>
        </p:nvSpPr>
        <p:spPr>
          <a:xfrm>
            <a:off x="502285" y="4538980"/>
            <a:ext cx="1127125" cy="43561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二分类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/>
              <p:cNvSpPr txBox="1">
                <a:spLocks/>
              </p:cNvSpPr>
              <p:nvPr/>
            </p:nvSpPr>
            <p:spPr>
              <a:xfrm>
                <a:off x="1034474" y="5001443"/>
                <a:ext cx="7605890" cy="1094556"/>
              </a:xfrm>
              <a:prstGeom prst="rect">
                <a:avLst/>
              </a:prstGeom>
            </p:spPr>
            <p:txBody>
              <a:bodyPr vert="horz" lIns="91440" tIns="45720" rIns="91440" bIns="45720" numCol="2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1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</m:oMath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0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1−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𝑦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1|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4474" y="5001443"/>
                <a:ext cx="7605890" cy="1094556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损失函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1</a:t>
            </a:fld>
            <a:endParaRPr lang="zh-CN" altLang="en-US" dirty="0"/>
          </a:p>
        </p:txBody>
      </p:sp>
      <p:sp>
        <p:nvSpPr>
          <p:cNvPr id="5" name="文本占位符 3"/>
          <p:cNvSpPr txBox="1"/>
          <p:nvPr/>
        </p:nvSpPr>
        <p:spPr>
          <a:xfrm>
            <a:off x="502444" y="1097651"/>
            <a:ext cx="1741992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交叉熵损失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1569275"/>
                <a:ext cx="8137922" cy="124781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离散的情况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𝐻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𝑞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−</m:t>
                    </m:r>
                    <m:nary>
                      <m:naryPr>
                        <m:chr m:val="∑"/>
                        <m:sup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sub>
                      <m:sup/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</m:e>
                        </m:d>
                        <m:r>
                          <m:rPr>
                            <m:sty m:val="p"/>
                          </m:r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log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𝑞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e>
                    </m:nary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连续的情况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𝐻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𝑞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−</m:t>
                    </m:r>
                    <m:nary>
                      <m:naryPr>
                        <m:sup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naryPr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sub>
                      <m:sup/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</m:e>
                        </m:d>
                        <m:func>
                          <m:func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log</m:t>
                            </m:r>
                          </m:fName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𝑞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e>
                        </m:func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𝑑𝑥</m:t>
                        </m:r>
                      </m:e>
                    </m:nary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285" y="1271270"/>
                <a:ext cx="8138160" cy="2252345"/>
              </a:xfrm>
              <a:prstGeom prst="rect">
                <a:avLst/>
              </a:prstGeom>
              <a:blipFill rotWithShape="1">
                <a:blip r:embed="rId5"/>
                <a:stretch>
                  <a:fillRect l="-449" t="-36585" b="-521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/>
              <p:cNvSpPr txBox="1">
                <a:spLocks/>
              </p:cNvSpPr>
              <p:nvPr/>
            </p:nvSpPr>
            <p:spPr>
              <a:xfrm>
                <a:off x="374980" y="4563196"/>
                <a:ext cx="8137922" cy="1790665"/>
              </a:xfrm>
              <a:prstGeom prst="rect">
                <a:avLst/>
              </a:prstGeom>
            </p:spPr>
            <p:txBody>
              <a:bodyPr vert="horz" lIns="91440" tIns="45720" rIns="91440" bIns="45720" numCol="2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ℒ</m:t>
                      </m:r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−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𝑘</m:t>
                          </m:r>
                        </m:sub>
                        <m:sup/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𝛿</m:t>
                          </m:r>
                          <m:d>
                            <m:d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𝑦</m:t>
                              </m:r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</m:d>
                          <m:func>
                            <m:func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 sz="1800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log</m:t>
                              </m:r>
                            </m:fName>
                            <m:e>
                              <m:sSub>
                                <m:sSub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𝑦</m:t>
                                  </m:r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=</m:t>
                                  </m:r>
                                  <m:sSub>
                                    <m:sSubPr>
                                      <m:ctrlP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𝑘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func>
                        </m:e>
                      </m:nary>
                    </m:oMath>
                    <m:oMath xmlns:m="http://schemas.openxmlformats.org/officeDocument/2006/math"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𝛿</m:t>
                      </m:r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𝑧</m:t>
                          </m:r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eqArr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,                          </m:t>
                              </m:r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𝑧</m:t>
                              </m:r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is</m:t>
                              </m:r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true</m:t>
                              </m:r>
                            </m:e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0,                      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otherwise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altLang="zh-CN" sz="18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980" y="4563196"/>
                <a:ext cx="8137922" cy="1790665"/>
              </a:xfrm>
              <a:prstGeom prst="rect">
                <a:avLst/>
              </a:prstGeom>
              <a:blipFill>
                <a:blip r:embed="rId6"/>
                <a:stretch>
                  <a:fillRect b="-58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文本占位符 3"/>
          <p:cNvSpPr txBox="1"/>
          <p:nvPr/>
        </p:nvSpPr>
        <p:spPr>
          <a:xfrm>
            <a:off x="502442" y="2914266"/>
            <a:ext cx="3404540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分类问题计算交叉熵损失</a:t>
            </a:r>
          </a:p>
        </p:txBody>
      </p:sp>
      <p:grpSp>
        <p:nvGrpSpPr>
          <p:cNvPr id="11" name="组合 17"/>
          <p:cNvGrpSpPr/>
          <p:nvPr/>
        </p:nvGrpSpPr>
        <p:grpSpPr>
          <a:xfrm>
            <a:off x="1450947" y="3523352"/>
            <a:ext cx="5314950" cy="1283336"/>
            <a:chOff x="796598" y="3675017"/>
            <a:chExt cx="5723391" cy="1381957"/>
          </a:xfrm>
        </p:grpSpPr>
        <p:sp>
          <p:nvSpPr>
            <p:cNvPr id="16" name="矩形 7"/>
            <p:cNvSpPr/>
            <p:nvPr/>
          </p:nvSpPr>
          <p:spPr>
            <a:xfrm>
              <a:off x="5886792" y="3675017"/>
              <a:ext cx="633197" cy="54020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0</a:t>
              </a:r>
              <a:endParaRPr lang="zh-CN" altLang="en-US" sz="1600" dirty="0"/>
            </a:p>
          </p:txBody>
        </p:sp>
        <p:sp>
          <p:nvSpPr>
            <p:cNvPr id="20" name="矩形 12"/>
            <p:cNvSpPr/>
            <p:nvPr/>
          </p:nvSpPr>
          <p:spPr>
            <a:xfrm>
              <a:off x="5129144" y="4516773"/>
              <a:ext cx="633197" cy="54020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.05</a:t>
              </a:r>
              <a:endParaRPr lang="zh-CN" altLang="en-US" sz="1400" dirty="0"/>
            </a:p>
          </p:txBody>
        </p:sp>
        <p:sp>
          <p:nvSpPr>
            <p:cNvPr id="22" name="矩形 13"/>
            <p:cNvSpPr/>
            <p:nvPr/>
          </p:nvSpPr>
          <p:spPr>
            <a:xfrm>
              <a:off x="5886792" y="4516773"/>
              <a:ext cx="633197" cy="540201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.2</a:t>
              </a:r>
              <a:endParaRPr lang="zh-CN" altLang="en-US" sz="1400" dirty="0"/>
            </a:p>
          </p:txBody>
        </p:sp>
        <p:sp>
          <p:nvSpPr>
            <p:cNvPr id="23" name="文本框 15"/>
            <p:cNvSpPr txBox="1"/>
            <p:nvPr/>
          </p:nvSpPr>
          <p:spPr>
            <a:xfrm>
              <a:off x="796598" y="3746816"/>
              <a:ext cx="2059600" cy="3966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>
                  <a:latin typeface="Alibaba PuHuiTi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Ground Truth</a:t>
              </a:r>
              <a:endParaRPr lang="zh-CN" altLang="en-US" dirty="0">
                <a:latin typeface="Alibaba PuHuiTi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4" name="文本框 16"/>
            <p:cNvSpPr txBox="1"/>
            <p:nvPr/>
          </p:nvSpPr>
          <p:spPr>
            <a:xfrm>
              <a:off x="1211706" y="4587627"/>
              <a:ext cx="1229600" cy="3977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dirty="0">
                  <a:latin typeface="Alibaba PuHuiTi"/>
                </a:rPr>
                <a:t>Prediction</a:t>
              </a:r>
              <a:endParaRPr lang="zh-CN" altLang="en-US" dirty="0">
                <a:latin typeface="Alibaba PuHuiTi"/>
              </a:endParaRPr>
            </a:p>
          </p:txBody>
        </p:sp>
        <p:sp>
          <p:nvSpPr>
            <p:cNvPr id="9" name="矩形 3"/>
            <p:cNvSpPr/>
            <p:nvPr/>
          </p:nvSpPr>
          <p:spPr>
            <a:xfrm>
              <a:off x="2866455" y="3675017"/>
              <a:ext cx="633197" cy="54020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0</a:t>
              </a:r>
              <a:endParaRPr lang="zh-CN" altLang="en-US" sz="1600" dirty="0"/>
            </a:p>
          </p:txBody>
        </p:sp>
        <p:sp>
          <p:nvSpPr>
            <p:cNvPr id="25" name="矩形 4"/>
            <p:cNvSpPr/>
            <p:nvPr/>
          </p:nvSpPr>
          <p:spPr>
            <a:xfrm>
              <a:off x="3624104" y="3675017"/>
              <a:ext cx="633197" cy="540201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1</a:t>
              </a:r>
              <a:endParaRPr lang="zh-CN" altLang="en-US" sz="1600" dirty="0"/>
            </a:p>
          </p:txBody>
        </p:sp>
        <p:sp>
          <p:nvSpPr>
            <p:cNvPr id="26" name="矩形 5"/>
            <p:cNvSpPr/>
            <p:nvPr/>
          </p:nvSpPr>
          <p:spPr>
            <a:xfrm>
              <a:off x="4381752" y="3675017"/>
              <a:ext cx="633197" cy="54020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0</a:t>
              </a:r>
              <a:endParaRPr lang="zh-CN" altLang="en-US" sz="1600" dirty="0"/>
            </a:p>
          </p:txBody>
        </p:sp>
        <p:sp>
          <p:nvSpPr>
            <p:cNvPr id="27" name="矩形 6"/>
            <p:cNvSpPr/>
            <p:nvPr/>
          </p:nvSpPr>
          <p:spPr>
            <a:xfrm>
              <a:off x="5139401" y="3675018"/>
              <a:ext cx="633197" cy="540199"/>
            </a:xfrm>
            <a:prstGeom prst="rect">
              <a:avLst/>
            </a:prstGeom>
            <a:ln w="12700" cmpd="sng">
              <a:solidFill>
                <a:schemeClr val="tx1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0</a:t>
              </a:r>
              <a:endParaRPr lang="zh-CN" altLang="en-US" sz="1600" dirty="0"/>
            </a:p>
          </p:txBody>
        </p:sp>
        <p:sp>
          <p:nvSpPr>
            <p:cNvPr id="28" name="矩形 9"/>
            <p:cNvSpPr/>
            <p:nvPr/>
          </p:nvSpPr>
          <p:spPr>
            <a:xfrm>
              <a:off x="2866455" y="4516773"/>
              <a:ext cx="633197" cy="540201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.1</a:t>
              </a:r>
              <a:endParaRPr lang="zh-CN" altLang="en-US" sz="1400" dirty="0"/>
            </a:p>
          </p:txBody>
        </p:sp>
        <p:sp>
          <p:nvSpPr>
            <p:cNvPr id="29" name="矩形 10"/>
            <p:cNvSpPr/>
            <p:nvPr/>
          </p:nvSpPr>
          <p:spPr>
            <a:xfrm>
              <a:off x="3624104" y="4516773"/>
              <a:ext cx="633197" cy="540201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.6</a:t>
              </a:r>
              <a:endParaRPr lang="zh-CN" altLang="en-US" sz="1400" dirty="0"/>
            </a:p>
          </p:txBody>
        </p:sp>
        <p:sp>
          <p:nvSpPr>
            <p:cNvPr id="30" name="矩形 11"/>
            <p:cNvSpPr/>
            <p:nvPr/>
          </p:nvSpPr>
          <p:spPr>
            <a:xfrm>
              <a:off x="4381752" y="4516773"/>
              <a:ext cx="633197" cy="54020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.05</a:t>
              </a:r>
              <a:endParaRPr lang="zh-CN" altLang="en-US" sz="1400" dirty="0"/>
            </a:p>
          </p:txBody>
        </p:sp>
      </p:grp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理解交叉熵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2</a:t>
            </a:fld>
            <a:endParaRPr lang="zh-CN" altLang="en-US" dirty="0"/>
          </a:p>
        </p:txBody>
      </p:sp>
      <p:sp>
        <p:nvSpPr>
          <p:cNvPr id="5" name="文本占位符 3"/>
          <p:cNvSpPr txBox="1"/>
          <p:nvPr/>
        </p:nvSpPr>
        <p:spPr>
          <a:xfrm>
            <a:off x="502444" y="1097651"/>
            <a:ext cx="1741992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交叉熵损失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1569275"/>
                <a:ext cx="8137922" cy="12004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离散的情况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𝐻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𝑞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−</m:t>
                    </m:r>
                    <m:nary>
                      <m:naryPr>
                        <m:chr m:val="∑"/>
                        <m:sup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sub>
                      <m:sup/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</m:e>
                        </m:d>
                        <m:r>
                          <m:rPr>
                            <m:sty m:val="p"/>
                          </m:r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log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𝑞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e>
                    </m:nary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连续的情况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𝐻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𝑞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−</m:t>
                    </m:r>
                    <m:nary>
                      <m:naryPr>
                        <m:sup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naryPr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sub>
                      <m:sup/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</m:e>
                        </m:d>
                        <m:func>
                          <m:func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log</m:t>
                            </m:r>
                          </m:fName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𝑞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e>
                        </m:func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𝑑𝑥</m:t>
                        </m:r>
                      </m:e>
                    </m:nary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569275"/>
                <a:ext cx="8137922" cy="1200430"/>
              </a:xfrm>
              <a:prstGeom prst="rect">
                <a:avLst/>
              </a:prstGeom>
              <a:blipFill>
                <a:blip r:embed="rId3"/>
                <a:stretch>
                  <a:fillRect l="-449" t="-38071" b="-5837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文本占位符 3">
            <a:extLst>
              <a:ext uri="{FF2B5EF4-FFF2-40B4-BE49-F238E27FC236}">
                <a16:creationId xmlns:a16="http://schemas.microsoft.com/office/drawing/2014/main" id="{D3B352D2-F255-4137-9371-D366AFA49CB6}"/>
              </a:ext>
            </a:extLst>
          </p:cNvPr>
          <p:cNvSpPr txBox="1"/>
          <p:nvPr/>
        </p:nvSpPr>
        <p:spPr>
          <a:xfrm>
            <a:off x="502444" y="2769705"/>
            <a:ext cx="1741992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KL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散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内容占位符 2">
                <a:extLst>
                  <a:ext uri="{FF2B5EF4-FFF2-40B4-BE49-F238E27FC236}">
                    <a16:creationId xmlns:a16="http://schemas.microsoft.com/office/drawing/2014/main" id="{01E03593-976C-433A-B907-7D0C0464089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241328"/>
                <a:ext cx="8137922" cy="160896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衡量两个分布的距离：恒大于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0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两者相等时为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0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不对称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</a:p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离散的情况 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𝐾𝐿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𝑞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sub>
                      <m:sup/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</m:e>
                        </m:d>
                        <m:r>
                          <m:rPr>
                            <m:sty m:val="p"/>
                          </m:r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log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  <m:f>
                          <m:f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fPr>
                          <m:nu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𝑝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𝑥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)</m:t>
                            </m:r>
                          </m:num>
                          <m:den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𝑞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𝑥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)</m:t>
                            </m:r>
                          </m:den>
                        </m:f>
                      </m:e>
                    </m:nary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连续的情况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𝐾𝐿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𝑞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nary>
                      <m:naryPr>
                        <m:sup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naryPr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sub>
                      <m:sup/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</m:e>
                        </m:d>
                        <m:func>
                          <m:func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log</m:t>
                            </m:r>
                          </m:fName>
                          <m:e>
                            <m:f>
                              <m:f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</m:ctrlPr>
                              </m:fPr>
                              <m:num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  <m:t>𝑝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  <m:t>(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  <m:t>𝑥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  <m:t>)</m:t>
                                </m:r>
                              </m:num>
                              <m:den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  <m:t>𝑞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  <m:t>(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  <m:t>𝑥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  <m:t>)</m:t>
                                </m:r>
                              </m:den>
                            </m:f>
                          </m:e>
                        </m:func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𝑑𝑥</m:t>
                        </m:r>
                      </m:e>
                    </m:nary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2" name="内容占位符 2">
                <a:extLst>
                  <a:ext uri="{FF2B5EF4-FFF2-40B4-BE49-F238E27FC236}">
                    <a16:creationId xmlns:a16="http://schemas.microsoft.com/office/drawing/2014/main" id="{01E03593-976C-433A-B907-7D0C046408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241328"/>
                <a:ext cx="8137922" cy="1608967"/>
              </a:xfrm>
              <a:prstGeom prst="rect">
                <a:avLst/>
              </a:prstGeom>
              <a:blipFill>
                <a:blip r:embed="rId4"/>
                <a:stretch>
                  <a:fillRect l="-300" t="-2273" b="-4545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文本框 32">
                <a:extLst>
                  <a:ext uri="{FF2B5EF4-FFF2-40B4-BE49-F238E27FC236}">
                    <a16:creationId xmlns:a16="http://schemas.microsoft.com/office/drawing/2014/main" id="{EC8FCEFF-0B7B-447E-8887-FCA0D62F736E}"/>
                  </a:ext>
                </a:extLst>
              </p:cNvPr>
              <p:cNvSpPr txBox="1"/>
              <p:nvPr/>
            </p:nvSpPr>
            <p:spPr>
              <a:xfrm>
                <a:off x="1781821" y="2773759"/>
                <a:ext cx="4572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𝐾𝐿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𝑞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𝐻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𝑞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𝐻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𝑝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3" name="文本框 32">
                <a:extLst>
                  <a:ext uri="{FF2B5EF4-FFF2-40B4-BE49-F238E27FC236}">
                    <a16:creationId xmlns:a16="http://schemas.microsoft.com/office/drawing/2014/main" id="{EC8FCEFF-0B7B-447E-8887-FCA0D62F73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81821" y="2773759"/>
                <a:ext cx="4572000" cy="369332"/>
              </a:xfrm>
              <a:prstGeom prst="rect">
                <a:avLst/>
              </a:prstGeom>
              <a:blipFill>
                <a:blip r:embed="rId5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图片 14">
            <a:extLst>
              <a:ext uri="{FF2B5EF4-FFF2-40B4-BE49-F238E27FC236}">
                <a16:creationId xmlns:a16="http://schemas.microsoft.com/office/drawing/2014/main" id="{4B6E4837-B44F-487A-8B8A-7ECF8C15C3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1680" y="4850295"/>
            <a:ext cx="5112013" cy="192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8104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二分类的交叉熵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3859890"/>
                <a:ext cx="8137922" cy="180098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损失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0000"/>
                  </a:lnSpc>
                  <a:buNone/>
                </a:pPr>
                <a:endParaRPr lang="en-US" altLang="zh-CN" b="0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ℒ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−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𝛿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e>
                      </m:d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log</m:t>
                          </m:r>
                        </m:fName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𝑦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1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</m:d>
                        </m:e>
                      </m:func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𝛿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0</m:t>
                          </m:r>
                        </m:e>
                      </m:d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log</m:t>
                          </m:r>
                        </m:fName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𝑦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0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</m:d>
                        </m:e>
                      </m:func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𝑦</m:t>
                      </m:r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log</m:t>
                          </m:r>
                        </m:fName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|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func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−(1−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𝑦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log</m:t>
                          </m:r>
                        </m:fName>
                        <m:e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𝑦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=1</m:t>
                                  </m:r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</m:e>
                      </m:func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    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859890"/>
                <a:ext cx="8137922" cy="1800982"/>
              </a:xfrm>
              <a:prstGeom prst="rect">
                <a:avLst/>
              </a:prstGeom>
              <a:blipFill rotWithShape="1">
                <a:blip r:embed="rId5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grpSp>
        <p:nvGrpSpPr>
          <p:cNvPr id="25" name="组合 4"/>
          <p:cNvGrpSpPr/>
          <p:nvPr/>
        </p:nvGrpSpPr>
        <p:grpSpPr>
          <a:xfrm>
            <a:off x="2927523" y="1746735"/>
            <a:ext cx="2834380" cy="1751067"/>
            <a:chOff x="1355304" y="3256576"/>
            <a:chExt cx="2913654" cy="1800043"/>
          </a:xfrm>
        </p:grpSpPr>
        <p:sp>
          <p:nvSpPr>
            <p:cNvPr id="26" name="矩形 5"/>
            <p:cNvSpPr/>
            <p:nvPr/>
          </p:nvSpPr>
          <p:spPr>
            <a:xfrm>
              <a:off x="2856412" y="3675017"/>
              <a:ext cx="539932" cy="539932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0</a:t>
              </a:r>
              <a:endParaRPr lang="zh-CN" altLang="en-US" dirty="0"/>
            </a:p>
          </p:txBody>
        </p:sp>
        <p:sp>
          <p:nvSpPr>
            <p:cNvPr id="27" name="矩形 6"/>
            <p:cNvSpPr/>
            <p:nvPr/>
          </p:nvSpPr>
          <p:spPr>
            <a:xfrm>
              <a:off x="3614058" y="3675017"/>
              <a:ext cx="539932" cy="539932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1</a:t>
              </a:r>
              <a:endParaRPr lang="zh-CN" altLang="en-US" dirty="0"/>
            </a:p>
          </p:txBody>
        </p:sp>
        <p:sp>
          <p:nvSpPr>
            <p:cNvPr id="28" name="矩形 10"/>
            <p:cNvSpPr/>
            <p:nvPr/>
          </p:nvSpPr>
          <p:spPr>
            <a:xfrm>
              <a:off x="2856412" y="4516687"/>
              <a:ext cx="539932" cy="5399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0.3</a:t>
              </a:r>
              <a:endParaRPr lang="zh-CN" altLang="en-US" sz="1600" dirty="0"/>
            </a:p>
          </p:txBody>
        </p:sp>
        <p:sp>
          <p:nvSpPr>
            <p:cNvPr id="29" name="矩形 11"/>
            <p:cNvSpPr/>
            <p:nvPr/>
          </p:nvSpPr>
          <p:spPr>
            <a:xfrm>
              <a:off x="3614058" y="4516687"/>
              <a:ext cx="539932" cy="53993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0.7</a:t>
              </a:r>
              <a:endParaRPr lang="zh-CN" altLang="en-US" sz="1600" dirty="0"/>
            </a:p>
          </p:txBody>
        </p:sp>
        <p:sp>
          <p:nvSpPr>
            <p:cNvPr id="30" name="文本框 15"/>
            <p:cNvSpPr txBox="1"/>
            <p:nvPr/>
          </p:nvSpPr>
          <p:spPr>
            <a:xfrm>
              <a:off x="1371623" y="3774868"/>
              <a:ext cx="1089457" cy="3786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真实值</a:t>
              </a:r>
            </a:p>
          </p:txBody>
        </p:sp>
        <p:sp>
          <p:nvSpPr>
            <p:cNvPr id="31" name="文本框 16"/>
            <p:cNvSpPr txBox="1"/>
            <p:nvPr/>
          </p:nvSpPr>
          <p:spPr>
            <a:xfrm>
              <a:off x="1355304" y="4601987"/>
              <a:ext cx="901696" cy="379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预测值</a:t>
              </a:r>
            </a:p>
          </p:txBody>
        </p:sp>
        <p:sp>
          <p:nvSpPr>
            <p:cNvPr id="32" name="文本框 19"/>
            <p:cNvSpPr txBox="1"/>
            <p:nvPr/>
          </p:nvSpPr>
          <p:spPr>
            <a:xfrm>
              <a:off x="2708554" y="3256576"/>
              <a:ext cx="769870" cy="3480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Alibaba PuHuiTi"/>
                </a:rPr>
                <a:t>Class 1</a:t>
              </a:r>
              <a:endParaRPr lang="zh-CN" altLang="en-US" sz="1600" dirty="0">
                <a:latin typeface="Alibaba PuHuiTi"/>
              </a:endParaRPr>
            </a:p>
          </p:txBody>
        </p:sp>
        <p:sp>
          <p:nvSpPr>
            <p:cNvPr id="33" name="文本框 20"/>
            <p:cNvSpPr txBox="1"/>
            <p:nvPr/>
          </p:nvSpPr>
          <p:spPr>
            <a:xfrm>
              <a:off x="3499088" y="3256576"/>
              <a:ext cx="769870" cy="3480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Alibaba PuHuiTi"/>
                </a:rPr>
                <a:t>Class 2</a:t>
              </a:r>
              <a:endParaRPr lang="zh-CN" altLang="en-US" sz="1600" dirty="0">
                <a:latin typeface="Alibaba PuHuiTi"/>
              </a:endParaRPr>
            </a:p>
          </p:txBody>
        </p:sp>
      </p:grp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逻辑斯谛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Logistic)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回归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4</a:t>
            </a:fld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493206" y="1181338"/>
                <a:ext cx="8137922" cy="5510407"/>
              </a:xfrm>
              <a:prstGeom prst="rect">
                <a:avLst/>
              </a:prstGeom>
            </p:spPr>
            <p:txBody>
              <a:bodyPr vert="horz" lIns="91440" tIns="45720" rIns="91440" bIns="45720" numCol="3" rtlCol="0">
                <a:normAutofit fontScale="925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逻辑斯谛回归是一个二分类模型</a:t>
                </a:r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𝜎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0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sup>
                          </m:sSup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交叉熵损失函数</a:t>
                </a:r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ℒ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−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𝑦</m:t>
                      </m:r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log</m:t>
                          </m:r>
                        </m:fNam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𝜎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</m:d>
                        </m:e>
                      </m:func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(1−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𝑦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log</m:t>
                          </m:r>
                        </m:fNam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1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)</m:t>
                          </m:r>
                        </m:e>
                      </m:func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梯度</a:t>
                </a:r>
                <a14:m>
                  <m:oMath xmlns:m="http://schemas.openxmlformats.org/officeDocument/2006/math">
                    <m:eqArr>
                      <m:eqArrPr>
                        <m:ctrlP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eqArrPr>
                      <m:e>
                        <m:f>
                          <m:f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Pr>
                          <m:nu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𝜕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ℒ</m:t>
                            </m:r>
                            <m:d>
                              <m:d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𝑦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,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𝑥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𝜃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𝜕𝜃</m:t>
                            </m:r>
                          </m:den>
                        </m:f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&amp;=−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𝑦</m:t>
                        </m:r>
                        <m:f>
                          <m:f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Pr>
                          <m:nu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num>
                          <m:den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𝜎</m:t>
                            </m:r>
                            <m:d>
                              <m:d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𝜃</m:t>
                                    </m:r>
                                  </m:e>
                                  <m:sup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⊤</m:t>
                                    </m:r>
                                  </m:sup>
                                </m:s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𝑥</m:t>
                                </m:r>
                              </m:e>
                            </m:d>
                          </m:den>
                        </m:f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𝜎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𝑧</m:t>
                            </m:r>
                          </m:e>
                        </m:d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−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𝜎</m:t>
                            </m:r>
                            <m:d>
                              <m:d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𝑧</m:t>
                                </m:r>
                              </m:e>
                            </m:d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−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𝑦</m:t>
                            </m:r>
                          </m:e>
                        </m:d>
                        <m:f>
                          <m:f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Pr>
                          <m:nu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1</m:t>
                            </m:r>
                          </m:num>
                          <m:den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−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𝜎</m:t>
                            </m:r>
                            <m:d>
                              <m:d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𝜃</m:t>
                                    </m:r>
                                  </m:e>
                                  <m:sup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⊤</m:t>
                                    </m:r>
                                  </m:sup>
                                </m:s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𝑥</m:t>
                                </m:r>
                              </m:e>
                            </m:d>
                          </m:den>
                        </m:f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𝜎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𝑧</m:t>
                            </m:r>
                          </m:e>
                        </m:d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−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𝜎</m:t>
                            </m:r>
                            <m:d>
                              <m:d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𝑧</m:t>
                                </m:r>
                              </m:e>
                            </m:d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e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&amp;=</m:t>
                        </m:r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𝜎</m:t>
                            </m:r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𝜃</m:t>
                                    </m:r>
                                  </m:e>
                                  <m:sup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⊤</m:t>
                                    </m:r>
                                  </m:sup>
                                </m:sSup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𝑥</m:t>
                                </m:r>
                              </m:e>
                            </m:d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𝑦</m:t>
                            </m:r>
                          </m:e>
                        </m:d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e>
                    </m:eqAr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</a:t>
                </a:r>
              </a:p>
              <a:p>
                <a:pPr marL="0" indent="0">
                  <a:lnSpc>
                    <a:spcPct val="120000"/>
                  </a:lnSpc>
                  <a:buNone/>
                </a:pPr>
                <a:b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</a:b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   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𝜂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𝑦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𝜎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⊤</m:t>
                                </m:r>
                              </m:sup>
                            </m:s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</m:e>
                        </m:d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206" y="1181338"/>
                <a:ext cx="8137922" cy="5510407"/>
              </a:xfrm>
              <a:prstGeom prst="rect">
                <a:avLst/>
              </a:prstGeom>
              <a:blipFill>
                <a:blip r:embed="rId3"/>
                <a:stretch>
                  <a:fillRect l="-375" t="-11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Picture 38" descr="Image result for sigmoi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818" y="1731023"/>
            <a:ext cx="1993765" cy="1327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对象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54891857"/>
              </p:ext>
            </p:extLst>
          </p:nvPr>
        </p:nvGraphicFramePr>
        <p:xfrm>
          <a:off x="7989888" y="1701990"/>
          <a:ext cx="405175" cy="2484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ula" r:id="rId5" imgW="3314700" imgH="2028825" progId="Equation.Ribbit">
                  <p:embed/>
                </p:oleObj>
              </mc:Choice>
              <mc:Fallback>
                <p:oleObj name="Formula" r:id="rId5" imgW="3314700" imgH="2028825" progId="Equation.Ribbit">
                  <p:embed/>
                  <p:pic>
                    <p:nvPicPr>
                      <p:cNvPr id="16" name="对象 1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89888" y="1701990"/>
                        <a:ext cx="405175" cy="2484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对象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60915733"/>
              </p:ext>
            </p:extLst>
          </p:nvPr>
        </p:nvGraphicFramePr>
        <p:xfrm>
          <a:off x="8128000" y="2788086"/>
          <a:ext cx="127000" cy="17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ula" r:id="rId7" imgW="1028700" imgH="1466850" progId="Equation.Ribbit">
                  <p:embed/>
                </p:oleObj>
              </mc:Choice>
              <mc:Fallback>
                <p:oleObj name="Formula" r:id="rId7" imgW="1028700" imgH="1466850" progId="Equation.Ribbit">
                  <p:embed/>
                  <p:pic>
                    <p:nvPicPr>
                      <p:cNvPr id="17" name="对象 1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128000" y="2788086"/>
                        <a:ext cx="127000" cy="179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9"/>
              <p:cNvSpPr/>
              <p:nvPr/>
            </p:nvSpPr>
            <p:spPr>
              <a:xfrm>
                <a:off x="4571999" y="5079999"/>
                <a:ext cx="3075709" cy="1032309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𝜕𝜎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den>
                      </m:f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(1−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)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0" name="Rectangle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1999" y="5079999"/>
                <a:ext cx="3075709" cy="1032309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标签的决定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5</a:t>
            </a:fld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493206" y="1042793"/>
                <a:ext cx="8137922" cy="5510407"/>
              </a:xfrm>
              <a:prstGeom prst="rect">
                <a:avLst/>
              </a:prstGeom>
            </p:spPr>
            <p:txBody>
              <a:bodyPr vert="horz" lIns="91440" tIns="45720" rIns="91440" bIns="45720" numCol="3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逻辑斯谛回归求出的概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 algn="ctr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𝛿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0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sup>
                          </m:sSup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 algn="ctr">
                  <a:lnSpc>
                    <a:spcPct val="12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设置阈值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en-US" altLang="zh-CN" dirty="0">
                    <a:latin typeface="Alibaba PuHuiTi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hreshold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h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定示例最终标签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 algn="ctr">
                  <a:lnSpc>
                    <a:spcPct val="120000"/>
                  </a:lnSpc>
                  <a:buNone/>
                </a:pPr>
                <a:r>
                  <a:rPr lang="en-US" altLang="zh-CN" sz="21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sz="21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sz="21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𝑦</m:t>
                        </m:r>
                      </m:e>
                    </m:acc>
                    <m:r>
                      <a:rPr lang="en-US" altLang="zh-CN" sz="21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21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begChr m:val="{"/>
                        <m:endChr m:val=""/>
                        <m:ctrlPr>
                          <a:rPr lang="en-US" altLang="zh-CN" sz="21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altLang="zh-CN" sz="210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eqArrPr>
                          <m:e>
                            <m:r>
                              <a:rPr lang="en-US" altLang="zh-CN" sz="21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  <m:r>
                              <a:rPr lang="en-US" altLang="zh-CN" sz="210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  </m:t>
                            </m:r>
                            <m:r>
                              <a:rPr lang="en-US" altLang="zh-CN" sz="21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        </m:t>
                            </m:r>
                            <m:sSub>
                              <m:sSubPr>
                                <m:ctrlPr>
                                  <a:rPr lang="en-US" altLang="zh-CN" sz="21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21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en-US" altLang="zh-CN" sz="21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sz="21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sz="21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𝑦</m:t>
                                </m:r>
                                <m:r>
                                  <a:rPr lang="en-US" altLang="zh-CN" sz="21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=1</m:t>
                                </m:r>
                              </m:e>
                              <m:e>
                                <m:r>
                                  <a:rPr lang="en-US" altLang="zh-CN" sz="210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𝑥</m:t>
                                </m:r>
                              </m:e>
                            </m:d>
                            <m:r>
                              <a:rPr lang="en-US" altLang="zh-CN" sz="21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&gt;</m:t>
                            </m:r>
                            <m:r>
                              <a:rPr lang="en-US" altLang="zh-CN" sz="21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h</m:t>
                            </m:r>
                          </m:e>
                          <m:e>
                            <m:r>
                              <a:rPr lang="en-US" altLang="zh-CN" sz="210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&amp;</m:t>
                            </m:r>
                            <m:r>
                              <a:rPr lang="en-US" altLang="zh-CN" sz="21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  <m:r>
                              <a:rPr lang="en-US" altLang="zh-CN" sz="210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  </m:t>
                            </m:r>
                            <m:r>
                              <a:rPr lang="en-US" altLang="zh-CN" sz="21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                    </m:t>
                            </m:r>
                            <m:r>
                              <m:rPr>
                                <m:sty m:val="p"/>
                              </m:rPr>
                              <a:rPr lang="en-US" altLang="zh-CN" sz="21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otherwise</m:t>
                            </m:r>
                          </m:e>
                        </m:eqArr>
                      </m:e>
                    </m:d>
                  </m:oMath>
                </a14:m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206" y="1042793"/>
                <a:ext cx="8137922" cy="5510407"/>
              </a:xfrm>
              <a:prstGeom prst="rect">
                <a:avLst/>
              </a:prstGeom>
              <a:blipFill>
                <a:blip r:embed="rId3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66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2059916" y="2818892"/>
            <a:ext cx="4627179" cy="1220215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多分类</a:t>
            </a: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/>
              <a:t>02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多</a:t>
            </a:r>
            <a:r>
              <a:rPr lang="zh-CN" altLang="en-US" dirty="0"/>
              <a:t>分类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62252" y="1255910"/>
                <a:ext cx="8068876" cy="5089471"/>
              </a:xfrm>
              <a:prstGeom prst="rect">
                <a:avLst/>
              </a:prstGeom>
            </p:spPr>
            <p:txBody>
              <a:bodyPr vert="horz" lIns="91440" tIns="45720" rIns="91440" bIns="45720" numCol="1" rtlCol="0" anchor="t" anchorCtr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2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 algn="ctr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/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𝛿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</m:d>
                          <m:func>
                            <m:func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sSub>
                                <m:sSub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=</m:t>
                                  </m:r>
                                  <m:sSub>
                                    <m:sSub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func>
                          <m:r>
                            <m:rPr>
                              <m:nor/>
                            </m:rPr>
                            <a:rPr lang="zh-CN" altLang="zh-CN" dirty="0"/>
                            <m:t> </m:t>
                          </m:r>
                        </m:e>
                      </m:nary>
                    </m:oMath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"/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 </m:t>
                              </m:r>
                              <m: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</a:rPr>
                                <m:t>is</m:t>
                              </m:r>
                              <m:r>
                                <a:rPr lang="en-US" altLang="zh-CN" b="0" i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</a:rPr>
                                <m:t>true</m:t>
                              </m:r>
                            </m:e>
                            <m:e>
                              <m: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  <m:t>&amp;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  <m: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</a:rPr>
                                <m:t>othe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rwise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2252" y="1255910"/>
                <a:ext cx="8068876" cy="5089471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50" name="文本占位符 3"/>
          <p:cNvSpPr txBox="1"/>
          <p:nvPr/>
        </p:nvSpPr>
        <p:spPr>
          <a:xfrm>
            <a:off x="561881" y="3777889"/>
            <a:ext cx="1924548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多分类交叉熵</a:t>
            </a:r>
          </a:p>
        </p:txBody>
      </p:sp>
      <p:grpSp>
        <p:nvGrpSpPr>
          <p:cNvPr id="51" name="组合 9"/>
          <p:cNvGrpSpPr/>
          <p:nvPr/>
        </p:nvGrpSpPr>
        <p:grpSpPr>
          <a:xfrm>
            <a:off x="4664550" y="5080850"/>
            <a:ext cx="2960797" cy="1283006"/>
            <a:chOff x="1723310" y="3675017"/>
            <a:chExt cx="3188326" cy="1381602"/>
          </a:xfrm>
        </p:grpSpPr>
        <p:sp>
          <p:nvSpPr>
            <p:cNvPr id="52" name="矩形 11"/>
            <p:cNvSpPr/>
            <p:nvPr/>
          </p:nvSpPr>
          <p:spPr>
            <a:xfrm>
              <a:off x="2856412" y="3675017"/>
              <a:ext cx="539932" cy="539932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0</a:t>
              </a:r>
              <a:endParaRPr lang="zh-CN" altLang="en-US" sz="1600" dirty="0"/>
            </a:p>
          </p:txBody>
        </p:sp>
        <p:sp>
          <p:nvSpPr>
            <p:cNvPr id="53" name="矩形 14"/>
            <p:cNvSpPr/>
            <p:nvPr/>
          </p:nvSpPr>
          <p:spPr>
            <a:xfrm>
              <a:off x="3614058" y="3675017"/>
              <a:ext cx="539932" cy="539932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1</a:t>
              </a:r>
              <a:endParaRPr lang="zh-CN" altLang="en-US" sz="1600" dirty="0"/>
            </a:p>
          </p:txBody>
        </p:sp>
        <p:sp>
          <p:nvSpPr>
            <p:cNvPr id="54" name="矩形 15"/>
            <p:cNvSpPr/>
            <p:nvPr/>
          </p:nvSpPr>
          <p:spPr>
            <a:xfrm>
              <a:off x="4371704" y="3675017"/>
              <a:ext cx="539932" cy="539932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0</a:t>
              </a:r>
              <a:endParaRPr lang="zh-CN" altLang="en-US" sz="1600" dirty="0"/>
            </a:p>
          </p:txBody>
        </p:sp>
        <p:sp>
          <p:nvSpPr>
            <p:cNvPr id="55" name="矩形 18"/>
            <p:cNvSpPr/>
            <p:nvPr/>
          </p:nvSpPr>
          <p:spPr>
            <a:xfrm>
              <a:off x="2856412" y="4516687"/>
              <a:ext cx="539932" cy="5399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.1</a:t>
              </a:r>
              <a:endParaRPr lang="zh-CN" altLang="en-US" sz="1400" dirty="0"/>
            </a:p>
          </p:txBody>
        </p:sp>
        <p:sp>
          <p:nvSpPr>
            <p:cNvPr id="56" name="矩形 19"/>
            <p:cNvSpPr/>
            <p:nvPr/>
          </p:nvSpPr>
          <p:spPr>
            <a:xfrm>
              <a:off x="3614058" y="4516687"/>
              <a:ext cx="539932" cy="53993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.7</a:t>
              </a:r>
              <a:endParaRPr lang="zh-CN" altLang="en-US" sz="1400" dirty="0"/>
            </a:p>
          </p:txBody>
        </p:sp>
        <p:sp>
          <p:nvSpPr>
            <p:cNvPr id="57" name="矩形 20"/>
            <p:cNvSpPr/>
            <p:nvPr/>
          </p:nvSpPr>
          <p:spPr>
            <a:xfrm>
              <a:off x="4371704" y="4516687"/>
              <a:ext cx="539932" cy="539932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.2</a:t>
              </a:r>
              <a:endParaRPr lang="zh-CN" altLang="en-US" sz="1400" dirty="0"/>
            </a:p>
          </p:txBody>
        </p:sp>
        <p:sp>
          <p:nvSpPr>
            <p:cNvPr id="58" name="文本框 23"/>
            <p:cNvSpPr txBox="1"/>
            <p:nvPr/>
          </p:nvSpPr>
          <p:spPr>
            <a:xfrm>
              <a:off x="1745192" y="3760492"/>
              <a:ext cx="1110488" cy="3966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真实值</a:t>
              </a:r>
            </a:p>
          </p:txBody>
        </p:sp>
        <p:sp>
          <p:nvSpPr>
            <p:cNvPr id="59" name="文本框 24"/>
            <p:cNvSpPr txBox="1"/>
            <p:nvPr/>
          </p:nvSpPr>
          <p:spPr>
            <a:xfrm>
              <a:off x="1723310" y="4601987"/>
              <a:ext cx="944571" cy="3977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预测值</a:t>
              </a:r>
            </a:p>
          </p:txBody>
        </p:sp>
      </p:grpSp>
      <p:grpSp>
        <p:nvGrpSpPr>
          <p:cNvPr id="61" name="组合 13"/>
          <p:cNvGrpSpPr/>
          <p:nvPr/>
        </p:nvGrpSpPr>
        <p:grpSpPr>
          <a:xfrm>
            <a:off x="2098292" y="1147621"/>
            <a:ext cx="5353952" cy="2543498"/>
            <a:chOff x="2160182" y="1362295"/>
            <a:chExt cx="5353952" cy="2543498"/>
          </a:xfrm>
        </p:grpSpPr>
        <p:pic>
          <p:nvPicPr>
            <p:cNvPr id="62" name="图片 1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160182" y="1362295"/>
              <a:ext cx="5353952" cy="2543498"/>
            </a:xfrm>
            <a:prstGeom prst="rect">
              <a:avLst/>
            </a:prstGeom>
          </p:spPr>
        </p:pic>
        <p:cxnSp>
          <p:nvCxnSpPr>
            <p:cNvPr id="63" name="直接连接符 4"/>
            <p:cNvCxnSpPr/>
            <p:nvPr/>
          </p:nvCxnSpPr>
          <p:spPr>
            <a:xfrm>
              <a:off x="3108960" y="1968137"/>
              <a:ext cx="992777" cy="122790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4" name="直接连接符 6"/>
            <p:cNvCxnSpPr/>
            <p:nvPr/>
          </p:nvCxnSpPr>
          <p:spPr>
            <a:xfrm>
              <a:off x="6165669" y="1889760"/>
              <a:ext cx="17417" cy="727661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5" name="直接连接符 8"/>
            <p:cNvCxnSpPr/>
            <p:nvPr/>
          </p:nvCxnSpPr>
          <p:spPr>
            <a:xfrm flipH="1">
              <a:off x="5503817" y="2617421"/>
              <a:ext cx="679269" cy="334785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6" name="直接连接符 10"/>
            <p:cNvCxnSpPr/>
            <p:nvPr/>
          </p:nvCxnSpPr>
          <p:spPr>
            <a:xfrm>
              <a:off x="6183086" y="2617421"/>
              <a:ext cx="418011" cy="683128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多类别逻辑斯谛回归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62252" y="1255910"/>
                <a:ext cx="8068876" cy="5089471"/>
              </a:xfrm>
              <a:prstGeom prst="rect">
                <a:avLst/>
              </a:prstGeom>
            </p:spPr>
            <p:txBody>
              <a:bodyPr vert="horz" lIns="91440" tIns="45720" rIns="91440" bIns="45720" numCol="1" rtlCol="0" anchor="t" anchorCtr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类别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𝐶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{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𝑐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𝑐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⋯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𝑐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𝑚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}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预测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𝑐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𝑗</m:t>
                        </m:r>
                      </m:sub>
                    </m:sSub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概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𝑗</m:t>
                              </m:r>
                            </m:sub>
                          </m:sSub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b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limLoc m:val="subSup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𝑘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𝑚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𝑒</m:t>
                                  </m:r>
                                </m:e>
                                <m:sup>
                                  <m:sSubSup>
                                    <m:sSub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𝑘</m:t>
                                      </m:r>
                                    </m:sub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⊤</m:t>
                                      </m:r>
                                    </m:sup>
                                  </m:sSub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sup>
                              </m:sSup>
                            </m:e>
                          </m:nary>
                        </m:den>
                      </m:f>
                      <m:r>
                        <a:rPr lang="en-US" altLang="zh-CN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   </m:t>
                      </m:r>
                      <m:r>
                        <m:rPr>
                          <m:sty m:val="p"/>
                        </m:rPr>
                        <a:rPr lang="en-US" altLang="zh-CN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for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𝑗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1,⋯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𝑚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zh-CN" dirty="0" err="1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oftmax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参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{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⋯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}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2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标准化成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𝑚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1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组参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 algn="ctr">
                  <a:lnSpc>
                    <a:spcPct val="12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2252" y="1255910"/>
                <a:ext cx="8068876" cy="5089471"/>
              </a:xfrm>
              <a:prstGeom prst="rect">
                <a:avLst/>
              </a:prstGeom>
              <a:blipFill>
                <a:blip r:embed="rId3"/>
                <a:stretch>
                  <a:fillRect l="-47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多类别逻辑斯谛回归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62252" y="1255910"/>
                <a:ext cx="8068876" cy="5089471"/>
              </a:xfrm>
              <a:prstGeom prst="rect">
                <a:avLst/>
              </a:prstGeom>
            </p:spPr>
            <p:txBody>
              <a:bodyPr vert="horz" lIns="91440" tIns="45720" rIns="91440" bIns="45720" numCol="1" rtlCol="0" anchor="t" anchorCtr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一个示例的学习（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𝑐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大对数化似然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log-likelihood)</a:t>
                </a:r>
              </a:p>
              <a:p>
                <a:pPr marL="457200" lvl="1" indent="0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max</m:t>
                          </m:r>
                        </m:e>
                        <m:li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lim>
                      </m:limLow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log</m:t>
                          </m:r>
                        </m:fName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𝑗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梯度</a:t>
                </a:r>
                <a:endParaRPr lang="en-US" altLang="zh-CN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func>
                                <m:funcPr>
                                  <m:ctrlPr>
                                    <a:rPr lang="en-US" altLang="zh-CN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altLang="zh-CN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log</m:t>
                                  </m:r>
                                </m:fNam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𝑝</m:t>
                                      </m:r>
                                    </m:e>
                                    <m:sub>
                                      <m:r>
                                        <a:rPr lang="el-GR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l-GR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𝑦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=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𝑐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𝑗</m:t>
                                          </m:r>
                                        </m:sub>
                                      </m:sSub>
                                    </m: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</m:d>
                                </m:e>
                              </m:func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𝑗</m:t>
                                  </m:r>
                                </m:sub>
                              </m:sSub>
                            </m:den>
                          </m:f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=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𝑗</m:t>
                                  </m:r>
                                </m:sub>
                              </m:sSub>
                            </m:den>
                          </m:f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log</m:t>
                          </m:r>
                          <m:f>
                            <m:f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𝑒</m:t>
                                  </m:r>
                                </m:e>
                                <m:sup>
                                  <m:sSubSup>
                                    <m:sSubSupPr>
                                      <m:ctrlPr>
                                        <a:rPr lang="el-GR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l-GR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𝑗</m:t>
                                      </m:r>
                                    </m:sub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⊤</m:t>
                                      </m:r>
                                    </m:sup>
                                  </m:sSub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sup>
                              </m:sSup>
                            </m:num>
                            <m:den>
                              <m:nary>
                                <m:naryPr>
                                  <m:chr m:val="∑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𝑘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𝑚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𝑒</m:t>
                                      </m:r>
                                    </m:e>
                                    <m:sup>
                                      <m:sSubSup>
                                        <m:sSubSupPr>
                                          <m:ctrlPr>
                                            <a:rPr lang="el-GR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el-GR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𝑘</m:t>
                                          </m:r>
                                        </m:sub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⊤</m:t>
                                          </m:r>
                                        </m:sup>
                                      </m:sSub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sup>
                                  </m:sSup>
                                </m:e>
                              </m:nary>
                            </m:den>
                          </m:f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=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𝑗</m:t>
                                  </m:r>
                                </m:sub>
                              </m:sSub>
                            </m:den>
                          </m:f>
                          <m:func>
                            <m:func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log</m:t>
                              </m:r>
                            </m:fName>
                            <m:e>
                              <m:nary>
                                <m:naryPr>
                                  <m:chr m:val="∑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𝑘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𝑚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𝑒</m:t>
                                      </m:r>
                                    </m:e>
                                    <m:sup>
                                      <m:sSubSup>
                                        <m:sSubSupPr>
                                          <m:ctrlPr>
                                            <a:rPr lang="el-GR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el-GR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𝑘</m:t>
                                          </m:r>
                                        </m:sub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⊤</m:t>
                                          </m:r>
                                        </m:sup>
                                      </m:sSub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sup>
                                  </m:sSup>
                                </m:e>
                              </m:nary>
                            </m:e>
                          </m:func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=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𝑒</m:t>
                                  </m:r>
                                </m:e>
                                <m:sup>
                                  <m:sSubSup>
                                    <m:sSubSupPr>
                                      <m:ctrlPr>
                                        <a:rPr lang="el-GR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l-GR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𝑗</m:t>
                                      </m:r>
                                    </m:sub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⊤</m:t>
                                      </m:r>
                                    </m:sup>
                                  </m:sSub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sup>
                              </m:sSup>
                            </m:num>
                            <m:den>
                              <m:nary>
                                <m:naryPr>
                                  <m:chr m:val="∑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𝑘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𝑚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𝑒</m:t>
                                      </m:r>
                                    </m:e>
                                    <m:sup>
                                      <m:sSubSup>
                                        <m:sSubSupPr>
                                          <m:ctrlPr>
                                            <a:rPr lang="el-GR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el-GR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𝑘</m:t>
                                          </m:r>
                                        </m:sub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⊤</m:t>
                                          </m:r>
                                        </m:sup>
                                      </m:sSub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sup>
                                  </m:sSup>
                                </m:e>
                              </m:nary>
                            </m:den>
                          </m:f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𝑦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=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𝑗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2252" y="1255910"/>
                <a:ext cx="8068876" cy="5089471"/>
              </a:xfrm>
              <a:prstGeom prst="rect">
                <a:avLst/>
              </a:prstGeom>
              <a:blipFill>
                <a:blip r:embed="rId5"/>
                <a:stretch>
                  <a:fillRect l="-45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学习目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502443" y="1348507"/>
                <a:ext cx="8137922" cy="45489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4400" indent="-2844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预测值和真实值的距离越近越好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 algn="dist"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sz="2000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min</m:t>
                          </m:r>
                        </m:e>
                        <m:lim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lim>
                      </m:limLow>
                      <m:f>
                        <m:f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sup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ℒ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)</m:t>
                          </m:r>
                        </m:e>
                      </m:nary>
                    </m:oMath>
                  </m:oMathPara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20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损失函数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ℒ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𝑦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)</m:t>
                    </m:r>
                  </m:oMath>
                </a14:m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测量预测值和真实值之间的误差，越小越好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20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具体损失函数的定义依赖于具体的数据和任务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4400" indent="-284400">
                  <a:lnSpc>
                    <a:spcPct val="20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广泛使用的损失回归函数：平方误差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en-US" altLang="zh-CN" sz="20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quared loss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  <a:buSzPct val="88000"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ℒ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lnSpc>
                    <a:spcPct val="150000"/>
                  </a:lnSpc>
                  <a:buClr>
                    <a:schemeClr val="accent1"/>
                  </a:buClr>
                  <a:buSzPct val="88000"/>
                  <a:buFont typeface="Wingdings" panose="05000000000000000000" pitchFamily="2" charset="2"/>
                  <a:buChar char="p"/>
                </a:pP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348507"/>
                <a:ext cx="8137922" cy="4548938"/>
              </a:xfrm>
              <a:prstGeom prst="rect">
                <a:avLst/>
              </a:prstGeom>
              <a:blipFill rotWithShape="1">
                <a:blip r:embed="rId5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逻辑斯谛回归的实践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316625" y="4489379"/>
            <a:ext cx="4552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28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线广告中的点击率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TR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估算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http://news.ifeng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1</a:t>
            </a:fld>
            <a:endParaRPr lang="zh-CN" alt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227470" y="1534723"/>
            <a:ext cx="8503686" cy="4406504"/>
            <a:chOff x="43985" y="374603"/>
            <a:chExt cx="11338248" cy="5875338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85" y="374603"/>
              <a:ext cx="10826346" cy="5875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11"/>
            <p:cNvSpPr/>
            <p:nvPr/>
          </p:nvSpPr>
          <p:spPr>
            <a:xfrm>
              <a:off x="7478973" y="736979"/>
              <a:ext cx="3391358" cy="2893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pic>
          <p:nvPicPr>
            <p:cNvPr id="13" name="Picture 2" descr="http://file.digitaling.com/eImg/uimages/20160302/1456889128182940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5451" y="736979"/>
              <a:ext cx="3603009" cy="24038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矩形 5"/>
            <p:cNvSpPr/>
            <p:nvPr/>
          </p:nvSpPr>
          <p:spPr>
            <a:xfrm>
              <a:off x="7435834" y="618370"/>
              <a:ext cx="3946399" cy="2643446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6626118" y="1228808"/>
            <a:ext cx="142250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是否点击？</a:t>
            </a:r>
            <a:endParaRPr lang="en-GB" dirty="0">
              <a:solidFill>
                <a:srgbClr val="FF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2</a:t>
            </a:fld>
            <a:endParaRPr lang="zh-CN" alt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  用户响应估计问题</a:t>
            </a:r>
          </a:p>
        </p:txBody>
      </p:sp>
      <p:sp>
        <p:nvSpPr>
          <p:cNvPr id="6" name="文本占位符 3"/>
          <p:cNvSpPr txBox="1"/>
          <p:nvPr/>
        </p:nvSpPr>
        <p:spPr>
          <a:xfrm>
            <a:off x="508000" y="1374739"/>
            <a:ext cx="1361622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问题描述</a:t>
            </a:r>
          </a:p>
        </p:txBody>
      </p:sp>
      <p:sp>
        <p:nvSpPr>
          <p:cNvPr id="8" name="Right Arrow 4"/>
          <p:cNvSpPr/>
          <p:nvPr/>
        </p:nvSpPr>
        <p:spPr>
          <a:xfrm>
            <a:off x="4572635" y="3694430"/>
            <a:ext cx="760095" cy="31242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extBox 5"/>
          <p:cNvSpPr txBox="1"/>
          <p:nvPr/>
        </p:nvSpPr>
        <p:spPr>
          <a:xfrm>
            <a:off x="1850699" y="1932135"/>
            <a:ext cx="1554480" cy="3956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zh-CN" altLang="en-US" dirty="0">
                <a:latin typeface="+mn-ea"/>
              </a:rPr>
              <a:t>一个实例数据</a:t>
            </a:r>
          </a:p>
        </p:txBody>
      </p:sp>
      <p:sp>
        <p:nvSpPr>
          <p:cNvPr id="12" name="TextBox 5"/>
          <p:cNvSpPr txBox="1"/>
          <p:nvPr/>
        </p:nvSpPr>
        <p:spPr>
          <a:xfrm>
            <a:off x="6796513" y="1932135"/>
            <a:ext cx="1097280" cy="3956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zh-CN" altLang="en-US" dirty="0">
                <a:latin typeface="+mn-ea"/>
              </a:rPr>
              <a:t>对应标签</a:t>
            </a:r>
            <a:endParaRPr lang="en-US" dirty="0">
              <a:latin typeface="+mn-ea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754202" y="2327910"/>
            <a:ext cx="3542099" cy="35394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Date: 20160320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Hour: 14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Weekday: 7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IP: 119.163.222.*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Region: England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City: London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Country: UK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Ad Exchange: Google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Domain: yahoo.co.uk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URL: </a:t>
            </a:r>
            <a:r>
              <a:rPr lang="zh-CN" altLang="en-US" sz="1400" u="sng" dirty="0">
                <a:solidFill>
                  <a:schemeClr val="tx2"/>
                </a:solidFill>
                <a:latin typeface="+mn-ea"/>
              </a:rPr>
              <a:t>http://www.yahoo.co.uk/abc.html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OS: Windows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Browser: Chrome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Ad size: 300*250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Ad ID: a1890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User occupation: Student</a:t>
            </a:r>
          </a:p>
          <a:p>
            <a:pPr algn="l" fontAlgn="auto">
              <a:lnSpc>
                <a:spcPct val="100000"/>
              </a:lnSpc>
            </a:pPr>
            <a:r>
              <a:rPr lang="zh-CN" altLang="en-US" sz="1400" dirty="0">
                <a:latin typeface="+mn-ea"/>
              </a:rPr>
              <a:t>User tags: Sports, Electronics</a:t>
            </a:r>
          </a:p>
        </p:txBody>
      </p:sp>
      <p:sp>
        <p:nvSpPr>
          <p:cNvPr id="13" name="TextBox 5"/>
          <p:cNvSpPr txBox="1"/>
          <p:nvPr/>
        </p:nvSpPr>
        <p:spPr>
          <a:xfrm>
            <a:off x="5991968" y="3341835"/>
            <a:ext cx="2583180" cy="3956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zh-CN" altLang="en-US" dirty="0">
                <a:latin typeface="+mn-ea"/>
              </a:rPr>
              <a:t>Click (1) or not (0)?</a:t>
            </a:r>
          </a:p>
        </p:txBody>
      </p:sp>
      <p:sp>
        <p:nvSpPr>
          <p:cNvPr id="14" name="TextBox 5"/>
          <p:cNvSpPr txBox="1"/>
          <p:nvPr/>
        </p:nvSpPr>
        <p:spPr>
          <a:xfrm>
            <a:off x="5991968" y="4006680"/>
            <a:ext cx="2697480" cy="3956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zh-CN" altLang="en-US" dirty="0">
                <a:latin typeface="+mn-ea"/>
              </a:rPr>
              <a:t>预测的点击率CTR (0.15)</a:t>
            </a:r>
          </a:p>
        </p:txBody>
      </p:sp>
    </p:spTree>
    <p:custDataLst>
      <p:tags r:id="rId1"/>
    </p:custData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2373" y="889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One-Hot</a:t>
            </a:r>
            <a:r>
              <a:rPr lang="zh-CN" altLang="en-US" dirty="0"/>
              <a:t> 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二进制（</a:t>
            </a:r>
            <a:r>
              <a:rPr lang="zh-CN" altLang="en-US" dirty="0"/>
              <a:t>独热）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编码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3078" y="6249354"/>
            <a:ext cx="3105151" cy="206381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8584" y="624935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73</a:t>
            </a:fld>
            <a:endParaRPr lang="zh-CN" altLang="en-US" dirty="0"/>
          </a:p>
        </p:txBody>
      </p:sp>
      <p:sp>
        <p:nvSpPr>
          <p:cNvPr id="8" name="内容占位符 2"/>
          <p:cNvSpPr txBox="1"/>
          <p:nvPr/>
        </p:nvSpPr>
        <p:spPr>
          <a:xfrm>
            <a:off x="503077" y="1219001"/>
            <a:ext cx="8137922" cy="5430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标准特征工程范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高维稀疏二进制特征向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常维度超过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M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甚至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B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极其稀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24" name="Straight Arrow Connector 23"/>
          <p:cNvCxnSpPr>
            <a:endCxn id="23" idx="0"/>
          </p:cNvCxnSpPr>
          <p:nvPr/>
        </p:nvCxnSpPr>
        <p:spPr>
          <a:xfrm>
            <a:off x="4942205" y="2199005"/>
            <a:ext cx="201930" cy="82042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6344920" y="2207260"/>
            <a:ext cx="225425" cy="8058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3270885" y="2207260"/>
            <a:ext cx="597535" cy="82296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extBox 5"/>
          <p:cNvSpPr txBox="1"/>
          <p:nvPr/>
        </p:nvSpPr>
        <p:spPr>
          <a:xfrm>
            <a:off x="1594485" y="1749425"/>
            <a:ext cx="6314440" cy="395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zh-CN" altLang="en-US" dirty="0">
                <a:latin typeface="+mn-ea"/>
              </a:rPr>
              <a:t>x=[</a:t>
            </a:r>
            <a:r>
              <a:rPr lang="zh-CN" altLang="en-US" dirty="0">
                <a:solidFill>
                  <a:schemeClr val="accent2"/>
                </a:solidFill>
                <a:latin typeface="+mn-ea"/>
              </a:rPr>
              <a:t>Weekday=Friday</a:t>
            </a:r>
            <a:r>
              <a:rPr lang="zh-CN" altLang="en-US" dirty="0">
                <a:latin typeface="+mn-ea"/>
              </a:rPr>
              <a:t>, </a:t>
            </a:r>
            <a:r>
              <a:rPr lang="zh-CN" altLang="en-US" dirty="0">
                <a:solidFill>
                  <a:schemeClr val="accent1"/>
                </a:solidFill>
                <a:latin typeface="+mn-ea"/>
              </a:rPr>
              <a:t>Gender=Male</a:t>
            </a:r>
            <a:r>
              <a:rPr lang="zh-CN" altLang="en-US" dirty="0">
                <a:latin typeface="+mn-ea"/>
              </a:rPr>
              <a:t>, City=Shanghai]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1787633" y="3736805"/>
            <a:ext cx="3154680" cy="3956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zh-CN" altLang="en-US" dirty="0">
                <a:latin typeface="+mn-ea"/>
              </a:rPr>
              <a:t>稀疏表示: x=[</a:t>
            </a:r>
            <a:r>
              <a:rPr lang="zh-CN" altLang="en-US" dirty="0">
                <a:solidFill>
                  <a:schemeClr val="accent2"/>
                </a:solidFill>
                <a:latin typeface="+mn-ea"/>
              </a:rPr>
              <a:t>5:1</a:t>
            </a:r>
            <a:r>
              <a:rPr lang="zh-CN" altLang="en-US" dirty="0">
                <a:solidFill>
                  <a:schemeClr val="accent1"/>
                </a:solidFill>
                <a:latin typeface="+mn-ea"/>
              </a:rPr>
              <a:t> 9:1</a:t>
            </a:r>
            <a:r>
              <a:rPr lang="zh-CN" altLang="en-US" dirty="0">
                <a:latin typeface="+mn-ea"/>
              </a:rPr>
              <a:t> 12:1]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19838" y="3030050"/>
            <a:ext cx="4069080" cy="3956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zh-CN" altLang="en-US" dirty="0">
                <a:latin typeface="+mn-ea"/>
              </a:rPr>
              <a:t>x=[</a:t>
            </a:r>
            <a:r>
              <a:rPr lang="zh-CN" altLang="en-US" dirty="0">
                <a:solidFill>
                  <a:schemeClr val="accent2"/>
                </a:solidFill>
                <a:latin typeface="+mn-ea"/>
              </a:rPr>
              <a:t>0,0,0,0,1,0,0</a:t>
            </a:r>
            <a:r>
              <a:rPr lang="zh-CN" altLang="en-US" dirty="0">
                <a:solidFill>
                  <a:schemeClr val="accent1"/>
                </a:solidFill>
                <a:latin typeface="+mn-ea"/>
              </a:rPr>
              <a:t>  0,1 </a:t>
            </a:r>
            <a:r>
              <a:rPr lang="zh-CN" altLang="en-US" dirty="0">
                <a:latin typeface="+mn-ea"/>
              </a:rPr>
              <a:t> 0,0,1,0…0]</a:t>
            </a:r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训练</a:t>
            </a:r>
            <a:r>
              <a:rPr lang="en-US" altLang="zh-CN" dirty="0"/>
              <a:t>/</a:t>
            </a:r>
            <a:r>
              <a:rPr lang="zh-CN" altLang="en-US" dirty="0"/>
              <a:t>验证</a:t>
            </a:r>
            <a:r>
              <a:rPr lang="en-US" altLang="zh-CN" dirty="0"/>
              <a:t>/</a:t>
            </a:r>
            <a:r>
              <a:rPr lang="zh-CN" altLang="en-US" dirty="0"/>
              <a:t>测试 数据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4</a:t>
            </a:fld>
            <a:endParaRPr lang="zh-CN" altLang="en-US" dirty="0"/>
          </a:p>
        </p:txBody>
      </p:sp>
      <p:sp>
        <p:nvSpPr>
          <p:cNvPr id="8" name="内容占位符 2"/>
          <p:cNvSpPr txBox="1"/>
          <p:nvPr/>
        </p:nvSpPr>
        <p:spPr>
          <a:xfrm>
            <a:off x="502442" y="1210111"/>
            <a:ext cx="8137922" cy="5430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范例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LibSVM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格式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训练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/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验证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/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测试数据拆分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按时间排序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训练：验证：测试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= 8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shuffle)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训练数据顺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5" name="矩形 3"/>
          <p:cNvSpPr/>
          <p:nvPr/>
        </p:nvSpPr>
        <p:spPr>
          <a:xfrm>
            <a:off x="1028700" y="1949738"/>
            <a:ext cx="7248525" cy="1014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>
                <a:solidFill>
                  <a:prstClr val="black"/>
                </a:solidFill>
                <a:latin typeface="+mn-ea"/>
                <a:ea typeface="宋体" panose="02010600030101010101" pitchFamily="2" charset="-122"/>
                <a:cs typeface="+mn-ea"/>
              </a:rPr>
              <a:t>1 5:1 9:1 12:1 45:1 154:1 509:1 4089:1 45314:1 988576:1</a:t>
            </a:r>
          </a:p>
          <a:p>
            <a:r>
              <a:rPr lang="en-US" altLang="zh-CN" sz="2000" dirty="0">
                <a:solidFill>
                  <a:prstClr val="black"/>
                </a:solidFill>
                <a:latin typeface="+mn-ea"/>
                <a:ea typeface="宋体" panose="02010600030101010101" pitchFamily="2" charset="-122"/>
                <a:cs typeface="+mn-ea"/>
              </a:rPr>
              <a:t>0 2:1 7:1 18:1 34:1 176:1 510:1 3879:1 71310:1 818034:1</a:t>
            </a:r>
          </a:p>
          <a:p>
            <a:pPr algn="ctr"/>
            <a:r>
              <a:rPr lang="en-US" altLang="zh-CN" sz="2000" dirty="0">
                <a:solidFill>
                  <a:prstClr val="black"/>
                </a:solidFill>
                <a:latin typeface="+mn-ea"/>
                <a:ea typeface="宋体" panose="02010600030101010101" pitchFamily="2" charset="-122"/>
                <a:cs typeface="+mn-ea"/>
              </a:rPr>
              <a:t>…</a:t>
            </a: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逻辑斯谛回归训练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5</a:t>
            </a:fld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1210111"/>
                <a:ext cx="8137922" cy="543083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逻辑斯谛回归是二分类模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l-GR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l-GR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l-GR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𝜎</m:t>
                      </m:r>
                      <m:d>
                        <m:dPr>
                          <m:ctrlPr>
                            <a:rPr lang="el-GR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l-GR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l-GR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l-GR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l-GR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带有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L2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正则化的交叉熵损失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⊤</m:t>
                              </m:r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i="0">
                              <a:latin typeface="Cambria Math" panose="02040503050406030204" pitchFamily="18" charset="0"/>
                            </a:rPr>
                            <m:t>log</m:t>
                          </m:r>
                        </m:fName>
                        <m:e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⊤</m:t>
                                      </m:r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</m:e>
                      </m:func>
                      <m:r>
                        <a:rPr lang="en-US" altLang="zh-CN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𝜆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i="1" smtClean="0">
                              <a:latin typeface="Cambria Math" panose="02040503050406030204" pitchFamily="18" charset="0"/>
                            </a:rPr>
                            <m:t>||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en-US" altLang="zh-CN" i="1" smtClean="0">
                              <a:latin typeface="Cambria Math" panose="02040503050406030204" pitchFamily="18" charset="0"/>
                            </a:rPr>
                            <m:t>||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参数学习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𝜆𝜂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𝜂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𝜎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仅更新标签中非零项对应的参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0111"/>
                <a:ext cx="8137922" cy="5430834"/>
              </a:xfrm>
              <a:prstGeom prst="rect">
                <a:avLst/>
              </a:prstGeom>
              <a:blipFill>
                <a:blip r:embed="rId3"/>
                <a:stretch>
                  <a:fillRect l="-449" t="-67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实验结果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6</a:t>
            </a:fld>
            <a:endParaRPr lang="zh-CN" altLang="en-US" dirty="0"/>
          </a:p>
        </p:txBody>
      </p:sp>
      <p:sp>
        <p:nvSpPr>
          <p:cNvPr id="8" name="内容占位符 2"/>
          <p:cNvSpPr txBox="1"/>
          <p:nvPr/>
        </p:nvSpPr>
        <p:spPr>
          <a:xfrm>
            <a:off x="502442" y="1210111"/>
            <a:ext cx="8137922" cy="5430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集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20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riteo TB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级数据集</a:t>
            </a:r>
          </a:p>
          <a:p>
            <a:pPr lvl="2"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3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个数字字段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26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个分类字段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2014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年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24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天中取七天连续数据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大约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300GB)</a:t>
            </a:r>
          </a:p>
          <a:p>
            <a:pPr lvl="2"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79.4M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次展示，负采样后点击次数为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.6M</a:t>
            </a:r>
          </a:p>
          <a:p>
            <a:pPr lvl="1">
              <a:lnSpc>
                <a:spcPct val="200000"/>
              </a:lnSpc>
            </a:pP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PinYou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集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65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个分类字段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2013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年的连续十天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9.5M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次展示，负采样后点击次数为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937.7K</a:t>
            </a: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实验结果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5815230" cy="206381"/>
          </a:xfrm>
        </p:spPr>
        <p:txBody>
          <a:bodyPr/>
          <a:lstStyle/>
          <a:p>
            <a:r>
              <a:rPr lang="en-US" altLang="zh-CN" dirty="0" err="1"/>
              <a:t>Yanru</a:t>
            </a:r>
            <a:r>
              <a:rPr lang="en-US" altLang="zh-CN" dirty="0"/>
              <a:t> Qu et al. Product-based Neural Networks for User Response Prediction. ICDM 2016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7</a:t>
            </a:fld>
            <a:endParaRPr lang="zh-CN" altLang="en-US" dirty="0"/>
          </a:p>
        </p:txBody>
      </p:sp>
      <p:sp>
        <p:nvSpPr>
          <p:cNvPr id="8" name="内容占位符 2"/>
          <p:cNvSpPr txBox="1"/>
          <p:nvPr/>
        </p:nvSpPr>
        <p:spPr>
          <a:xfrm>
            <a:off x="502442" y="1210111"/>
            <a:ext cx="8137922" cy="5430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性能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与非线性模型相比，线性模型具有以下优缺点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点：标准化，易于理解和实施，高效和可扩展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缺点：建模局限（特征独立假设），无法探索特征交互</a:t>
            </a: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aphicFrame>
        <p:nvGraphicFramePr>
          <p:cNvPr id="7" name="内容占位符 4"/>
          <p:cNvGraphicFramePr/>
          <p:nvPr/>
        </p:nvGraphicFramePr>
        <p:xfrm>
          <a:off x="628648" y="1812631"/>
          <a:ext cx="7557864" cy="225044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14527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65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96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96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96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96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Model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Linearity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AUC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Log Los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>
                          <a:latin typeface="+mn-ea"/>
                          <a:cs typeface="+mn-ea"/>
                        </a:rPr>
                        <a:t>Crite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>
                          <a:latin typeface="+mn-ea"/>
                          <a:cs typeface="+mn-ea"/>
                        </a:rPr>
                        <a:t>iPinYo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>
                          <a:latin typeface="+mn-ea"/>
                          <a:cs typeface="+mn-ea"/>
                        </a:rPr>
                        <a:t>Crite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>
                          <a:latin typeface="+mn-ea"/>
                          <a:cs typeface="+mn-ea"/>
                        </a:rPr>
                        <a:t>iPinY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Logistic Regre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Line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71.4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73.4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0.13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5.581e-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Factorization Mach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Bi-line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72.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75.5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0.13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5.504e-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Deep Neural</a:t>
                      </a:r>
                      <a:r>
                        <a:rPr lang="en-US" altLang="zh-CN" baseline="0" dirty="0">
                          <a:latin typeface="+mn-ea"/>
                          <a:cs typeface="+mn-ea"/>
                        </a:rPr>
                        <a:t> Networks</a:t>
                      </a:r>
                      <a:endParaRPr lang="zh-CN" altLang="en-US" dirty="0">
                        <a:latin typeface="+mn-ea"/>
                        <a:cs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Non-line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75.6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76.1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0.12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+mn-ea"/>
                          <a:cs typeface="+mn-ea"/>
                        </a:rPr>
                        <a:t>5.443e-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平方误差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524595" y="1293088"/>
                <a:ext cx="8137922" cy="5479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chemeClr val="accent1"/>
                  </a:buClr>
                  <a:buSzPct val="88000"/>
                </a:pPr>
                <a:r>
                  <a:rPr lang="en-US" altLang="zh-CN" sz="20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ℒ</m:t>
                    </m:r>
                    <m:d>
                      <m:d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0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𝑦</m:t>
                            </m:r>
                          </m:e>
                          <m:sub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𝑖</m:t>
                            </m:r>
                          </m:sub>
                        </m:s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sz="20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𝑓</m:t>
                            </m:r>
                          </m:e>
                          <m:sub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sz="20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</m:e>
                    </m:d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num>
                      <m:den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sz="20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en-US" altLang="zh-CN" sz="20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sz="20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sz="20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20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altLang="zh-CN" sz="20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</m:e>
                      <m:sup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p>
                    </m:sSup>
                  </m:oMath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95" y="1293088"/>
                <a:ext cx="8137922" cy="547907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6" name="内容占位符 2"/>
          <p:cNvSpPr txBox="1"/>
          <p:nvPr/>
        </p:nvSpPr>
        <p:spPr>
          <a:xfrm>
            <a:off x="6018662" y="2386226"/>
            <a:ext cx="2732490" cy="3543519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16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1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30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9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16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4480" indent="-284480"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r>
              <a:rPr lang="zh-CN" altLang="en-US" sz="2000" dirty="0"/>
              <a:t>对预测误差大的有更大的惩罚</a:t>
            </a:r>
            <a:endParaRPr lang="en-US" altLang="zh-CN" sz="2000" dirty="0"/>
          </a:p>
          <a:p>
            <a:pPr marL="284480" indent="-284480"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</a:pPr>
            <a:r>
              <a:rPr lang="zh-CN" altLang="en-US" sz="2000" dirty="0"/>
              <a:t>容忍很小的预测误差</a:t>
            </a:r>
            <a:endParaRPr lang="en-US" altLang="zh-CN" sz="2000" dirty="0"/>
          </a:p>
          <a:p>
            <a:pPr lvl="1">
              <a:buClr>
                <a:schemeClr val="accent1"/>
              </a:buClr>
              <a:buSzPct val="100000"/>
            </a:pPr>
            <a:r>
              <a:rPr lang="zh-CN" altLang="en-US" sz="1800" dirty="0"/>
              <a:t>观测误差等</a:t>
            </a:r>
            <a:endParaRPr lang="en-US" altLang="zh-CN" sz="1800" dirty="0"/>
          </a:p>
          <a:p>
            <a:pPr lvl="1">
              <a:buClr>
                <a:schemeClr val="accent1"/>
              </a:buClr>
              <a:buSzPct val="100000"/>
            </a:pPr>
            <a:r>
              <a:rPr lang="zh-CN" altLang="en-US" sz="1800" dirty="0"/>
              <a:t>提升模型的泛化能力</a:t>
            </a:r>
            <a:endParaRPr lang="en-US" sz="1800" dirty="0"/>
          </a:p>
        </p:txBody>
      </p:sp>
      <p:pic>
        <p:nvPicPr>
          <p:cNvPr id="8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2848" y="2007541"/>
            <a:ext cx="5375338" cy="4200227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最小均方误差回归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/>
              <p:cNvSpPr txBox="1">
                <a:spLocks/>
              </p:cNvSpPr>
              <p:nvPr/>
            </p:nvSpPr>
            <p:spPr>
              <a:xfrm>
                <a:off x="502442" y="1292181"/>
                <a:ext cx="8137922" cy="156185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化目标是最小化训练数据上的均方误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sup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              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lim>
                          </m:limLow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92181"/>
                <a:ext cx="8137922" cy="1561856"/>
              </a:xfrm>
              <a:prstGeom prst="rect">
                <a:avLst/>
              </a:prstGeom>
              <a:blipFill rotWithShape="1">
                <a:blip r:embed="rId5"/>
                <a:stretch>
                  <a:fillRect l="-449" t="-234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pic>
        <p:nvPicPr>
          <p:cNvPr id="10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6801" y="3172905"/>
            <a:ext cx="3378200" cy="2916920"/>
          </a:xfrm>
          <a:prstGeom prst="rect">
            <a:avLst/>
          </a:prstGeom>
        </p:spPr>
      </p:pic>
      <p:pic>
        <p:nvPicPr>
          <p:cNvPr id="11" name="Picture 5" descr="https://www.spcforexcel.com/files/images/leastsquare.g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205" y="3581404"/>
            <a:ext cx="3696943" cy="2447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5|42.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4|99.5|1.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5.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532</TotalTime>
  <Words>3244</Words>
  <Application>Microsoft Office PowerPoint</Application>
  <PresentationFormat>全屏显示(4:3)</PresentationFormat>
  <Paragraphs>778</Paragraphs>
  <Slides>78</Slides>
  <Notes>55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78</vt:i4>
      </vt:variant>
    </vt:vector>
  </HeadingPairs>
  <TitlesOfParts>
    <vt:vector size="92" baseType="lpstr">
      <vt:lpstr>Alibaba PuHuiTi</vt:lpstr>
      <vt:lpstr>Alibaba PuHuiTi Medium</vt:lpstr>
      <vt:lpstr>阿里巴巴普惠体 B</vt:lpstr>
      <vt:lpstr>阿里巴巴普惠体 R</vt:lpstr>
      <vt:lpstr>等线</vt:lpstr>
      <vt:lpstr>Microsoft YaHei</vt:lpstr>
      <vt:lpstr>Microsoft YaHei</vt:lpstr>
      <vt:lpstr>Arial</vt:lpstr>
      <vt:lpstr>Cambria</vt:lpstr>
      <vt:lpstr>Cambria Math</vt:lpstr>
      <vt:lpstr>Wingdings</vt:lpstr>
      <vt:lpstr>主题5</vt:lpstr>
      <vt:lpstr>think-cell Slide</vt:lpstr>
      <vt:lpstr>Formula</vt:lpstr>
      <vt:lpstr>PowerPoint 演示文稿</vt:lpstr>
      <vt:lpstr>PowerPoint 演示文稿</vt:lpstr>
      <vt:lpstr>线性判别模型</vt:lpstr>
      <vt:lpstr>线性判别模型</vt:lpstr>
      <vt:lpstr>线性回归</vt:lpstr>
      <vt:lpstr>线性回归</vt:lpstr>
      <vt:lpstr>学习目标</vt:lpstr>
      <vt:lpstr>平方误差</vt:lpstr>
      <vt:lpstr>最小均方误差回归</vt:lpstr>
      <vt:lpstr>最小化目标函数</vt:lpstr>
      <vt:lpstr>梯度学习方法</vt:lpstr>
      <vt:lpstr>PowerPoint 演示文稿</vt:lpstr>
      <vt:lpstr>PowerPoint 演示文稿</vt:lpstr>
      <vt:lpstr>批量梯度下降</vt:lpstr>
      <vt:lpstr>批量梯度下降</vt:lpstr>
      <vt:lpstr>线性模型学习展示 - 函数曲线</vt:lpstr>
      <vt:lpstr>PowerPoint 演示文稿</vt:lpstr>
      <vt:lpstr>随机梯度下降</vt:lpstr>
      <vt:lpstr>随机梯度下降</vt:lpstr>
      <vt:lpstr>PowerPoint 演示文稿</vt:lpstr>
      <vt:lpstr>小批量梯度 下降</vt:lpstr>
      <vt:lpstr>小批量梯度下降</vt:lpstr>
      <vt:lpstr>小批量梯度下降</vt:lpstr>
      <vt:lpstr>基本搜索步骤</vt:lpstr>
      <vt:lpstr>基本搜索步骤</vt:lpstr>
      <vt:lpstr>基本搜索步骤</vt:lpstr>
      <vt:lpstr>凸优化目标函数具有唯一最小点</vt:lpstr>
      <vt:lpstr>凸集 (Convex Set)</vt:lpstr>
      <vt:lpstr>凸函数 (Convex Function)</vt:lpstr>
      <vt:lpstr>学习率的选择</vt:lpstr>
      <vt:lpstr>PowerPoint 演示文稿</vt:lpstr>
      <vt:lpstr>从代数视角来看线性回归</vt:lpstr>
      <vt:lpstr>线性回归的矩阵形式</vt:lpstr>
      <vt:lpstr>线性回归的矩阵形式</vt:lpstr>
      <vt:lpstr>X^T X为奇异矩阵的情况</vt:lpstr>
      <vt:lpstr>带正则项的线性回归矩阵形式</vt:lpstr>
      <vt:lpstr>PowerPoint 演示文稿</vt:lpstr>
      <vt:lpstr>回顾：线性回归</vt:lpstr>
      <vt:lpstr>回顾：线性回归的矩阵形式</vt:lpstr>
      <vt:lpstr>泛线性模型</vt:lpstr>
      <vt:lpstr>核线性回归的矩阵形式</vt:lpstr>
      <vt:lpstr>核线性回归的矩阵形式</vt:lpstr>
      <vt:lpstr>PowerPoint 演示文稿</vt:lpstr>
      <vt:lpstr>线性判别模型</vt:lpstr>
      <vt:lpstr>线性判别模型</vt:lpstr>
      <vt:lpstr>概率判别模型的学习</vt:lpstr>
      <vt:lpstr>PowerPoint 演示文稿</vt:lpstr>
      <vt:lpstr>评估指标</vt:lpstr>
      <vt:lpstr>评估指标</vt:lpstr>
      <vt:lpstr>评估指标</vt:lpstr>
      <vt:lpstr>评估指标</vt:lpstr>
      <vt:lpstr>评估指标</vt:lpstr>
      <vt:lpstr>评估指标</vt:lpstr>
      <vt:lpstr>评估指标</vt:lpstr>
      <vt:lpstr>PowerPoint 演示文稿</vt:lpstr>
      <vt:lpstr>PowerPoint 演示文稿</vt:lpstr>
      <vt:lpstr>二分类</vt:lpstr>
      <vt:lpstr>分类问题</vt:lpstr>
      <vt:lpstr>二分类</vt:lpstr>
      <vt:lpstr>线性判别模型</vt:lpstr>
      <vt:lpstr>损失函数</vt:lpstr>
      <vt:lpstr>理解交叉熵</vt:lpstr>
      <vt:lpstr>二分类的交叉熵</vt:lpstr>
      <vt:lpstr>逻辑斯谛(Logistic)回归</vt:lpstr>
      <vt:lpstr>标签的决定</vt:lpstr>
      <vt:lpstr>多分类</vt:lpstr>
      <vt:lpstr>多分类</vt:lpstr>
      <vt:lpstr>多类别逻辑斯谛回归</vt:lpstr>
      <vt:lpstr>多类别逻辑斯谛回归</vt:lpstr>
      <vt:lpstr>PowerPoint 演示文稿</vt:lpstr>
      <vt:lpstr>在线广告中的点击率（CTR）估算</vt:lpstr>
      <vt:lpstr>  用户响应估计问题</vt:lpstr>
      <vt:lpstr>One-Hot 二进制（独热）编码</vt:lpstr>
      <vt:lpstr>训练/验证/测试 数据</vt:lpstr>
      <vt:lpstr>逻辑斯谛回归训练</vt:lpstr>
      <vt:lpstr>实验结果</vt:lpstr>
      <vt:lpstr>实验结果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S3612-W2</dc:title>
  <dc:creator>Weinan Zhang</dc:creator>
  <cp:lastModifiedBy>Hanye Zhao</cp:lastModifiedBy>
  <cp:revision>164</cp:revision>
  <cp:lastPrinted>2020-03-08T08:35:36Z</cp:lastPrinted>
  <dcterms:created xsi:type="dcterms:W3CDTF">2019-04-27T16:00:00Z</dcterms:created>
  <dcterms:modified xsi:type="dcterms:W3CDTF">2023-06-28T08:0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